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3" r:id="rId4"/>
    <p:sldMasterId id="2147483666" r:id="rId5"/>
  </p:sldMasterIdLst>
  <p:notesMasterIdLst>
    <p:notesMasterId r:id="rId48"/>
  </p:notesMasterIdLst>
  <p:handoutMasterIdLst>
    <p:handoutMasterId r:id="rId49"/>
  </p:handoutMasterIdLst>
  <p:sldIdLst>
    <p:sldId id="483" r:id="rId6"/>
    <p:sldId id="1429" r:id="rId7"/>
    <p:sldId id="1496" r:id="rId8"/>
    <p:sldId id="1477" r:id="rId9"/>
    <p:sldId id="1521" r:id="rId10"/>
    <p:sldId id="1490" r:id="rId11"/>
    <p:sldId id="1512" r:id="rId12"/>
    <p:sldId id="1497" r:id="rId13"/>
    <p:sldId id="1451" r:id="rId14"/>
    <p:sldId id="1452" r:id="rId15"/>
    <p:sldId id="1458" r:id="rId16"/>
    <p:sldId id="1469" r:id="rId17"/>
    <p:sldId id="1471" r:id="rId18"/>
    <p:sldId id="1470" r:id="rId19"/>
    <p:sldId id="1498" r:id="rId20"/>
    <p:sldId id="1492" r:id="rId21"/>
    <p:sldId id="1494" r:id="rId22"/>
    <p:sldId id="1265" r:id="rId23"/>
    <p:sldId id="1499" r:id="rId24"/>
    <p:sldId id="1480" r:id="rId25"/>
    <p:sldId id="1495" r:id="rId26"/>
    <p:sldId id="1509" r:id="rId27"/>
    <p:sldId id="1518" r:id="rId28"/>
    <p:sldId id="1517" r:id="rId29"/>
    <p:sldId id="1511" r:id="rId30"/>
    <p:sldId id="1519" r:id="rId31"/>
    <p:sldId id="1481" r:id="rId32"/>
    <p:sldId id="1510" r:id="rId33"/>
    <p:sldId id="1514" r:id="rId34"/>
    <p:sldId id="1515" r:id="rId35"/>
    <p:sldId id="1503" r:id="rId36"/>
    <p:sldId id="1500" r:id="rId37"/>
    <p:sldId id="1502" r:id="rId38"/>
    <p:sldId id="1522" r:id="rId39"/>
    <p:sldId id="1508" r:id="rId40"/>
    <p:sldId id="1507" r:id="rId41"/>
    <p:sldId id="1505" r:id="rId42"/>
    <p:sldId id="1520" r:id="rId43"/>
    <p:sldId id="1516" r:id="rId44"/>
    <p:sldId id="1506" r:id="rId45"/>
    <p:sldId id="1501" r:id="rId46"/>
    <p:sldId id="1439" r:id="rId47"/>
  </p:sldIdLst>
  <p:sldSz cx="9144000" cy="6858000" type="screen4x3"/>
  <p:notesSz cx="7010400" cy="9296400"/>
  <p:custDataLst>
    <p:tags r:id="rId5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how, Yvonne (HPC)" initials="YC" lastIdx="2" clrIdx="0"/>
  <p:cmAuthor id="1" name="user" initials="u" lastIdx="2" clrIdx="1"/>
  <p:cmAuthor id="2" name="Michael Bailit" initials="MB" lastIdx="422" clrIdx="2"/>
  <p:cmAuthor id="3" name="Cristi Carman" initials="CC" lastIdx="0" clrIdx="3"/>
  <p:cmAuthor id="4" name="Deepti Kanneganti" initials="DK" lastIdx="316" clrIdx="4"/>
  <p:cmAuthor id="5" name="Deepti Kanneganti" initials="DK [2]" lastIdx="1" clrIdx="5"/>
  <p:cmAuthor id="6" name="Vivian Haime" initials="VH" lastIdx="1" clrIdx="6"/>
  <p:cmAuthor id="7" name="KSB" initials="KSB" lastIdx="5" clrIdx="7"/>
  <p:cmAuthor id="8" name="lshaughnessy" initials="ls" lastIdx="3" clrIdx="8"/>
  <p:cmAuthor id="9" name="Justine Zayhowski" initials="JZ" lastIdx="42" clrIdx="9"/>
  <p:cmAuthor id="10" name="Ahlgren, Lisa" initials="AL" lastIdx="1" clrIdx="10">
    <p:extLst>
      <p:ext uri="{19B8F6BF-5375-455C-9EA6-DF929625EA0E}">
        <p15:presenceInfo xmlns:p15="http://schemas.microsoft.com/office/powerpoint/2012/main" userId="S-1-5-21-320818509-2549926932-657949529-5936" providerId="AD"/>
      </p:ext>
    </p:extLst>
  </p:cmAuthor>
  <p:cmAuthor id="11" name="Michael" initials="M" lastIdx="10" clrIdx="11">
    <p:extLst>
      <p:ext uri="{19B8F6BF-5375-455C-9EA6-DF929625EA0E}">
        <p15:presenceInfo xmlns:p15="http://schemas.microsoft.com/office/powerpoint/2012/main" userId="S::mbailit@bailit-health.com::6e5c4604-85bf-41ef-8e97-4724b7d56589" providerId="AD"/>
      </p:ext>
    </p:extLst>
  </p:cmAuthor>
  <p:cmAuthor id="12" name="Erin Taylor" initials="ET" lastIdx="1" clrIdx="12">
    <p:extLst>
      <p:ext uri="{19B8F6BF-5375-455C-9EA6-DF929625EA0E}">
        <p15:presenceInfo xmlns:p15="http://schemas.microsoft.com/office/powerpoint/2012/main" userId="S::ETaylor@bailit-health.com::c09af165-50a0-4a78-8b32-79b157be4bf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99"/>
    <a:srgbClr val="FFC000"/>
    <a:srgbClr val="013366"/>
    <a:srgbClr val="ED7D31"/>
    <a:srgbClr val="002060"/>
    <a:srgbClr val="023467"/>
    <a:srgbClr val="70AD47"/>
    <a:srgbClr val="F4CFCC"/>
    <a:srgbClr val="DCE6F1"/>
    <a:srgbClr val="197EC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F7C2B6A-CF86-41AF-93E7-6E90B7779B8F}" v="95" dt="2020-11-16T16:08:43.9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4" d="100"/>
          <a:sy n="54" d="100"/>
        </p:scale>
        <p:origin x="1146" y="72"/>
      </p:cViewPr>
      <p:guideLst>
        <p:guide orient="horz" pos="2160"/>
        <p:guide pos="2880"/>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tags" Target="tags/tag1.xml"/><Relationship Id="rId55"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handoutMaster" Target="handoutMasters/handoutMaster1.xml"/><Relationship Id="rId57"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notesMaster" Target="notesMasters/notesMaster1.xml"/><Relationship Id="rId56" Type="http://schemas.microsoft.com/office/2016/11/relationships/changesInfo" Target="changesInfos/changesInfo1.xml"/><Relationship Id="rId8" Type="http://schemas.openxmlformats.org/officeDocument/2006/relationships/slide" Target="slides/slide3.xml"/><Relationship Id="rId51" Type="http://schemas.openxmlformats.org/officeDocument/2006/relationships/commentAuthors" Target="commentAuthors.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 Bailit" userId="6e5c4604-85bf-41ef-8e97-4724b7d56589" providerId="ADAL" clId="{971DF829-B671-4100-8D40-F9172BC668D3}"/>
    <pc:docChg chg="undo custSel modSld">
      <pc:chgData name="Michael Bailit" userId="6e5c4604-85bf-41ef-8e97-4724b7d56589" providerId="ADAL" clId="{971DF829-B671-4100-8D40-F9172BC668D3}" dt="2020-11-06T17:36:53.275" v="3083" actId="20577"/>
      <pc:docMkLst>
        <pc:docMk/>
      </pc:docMkLst>
      <pc:sldChg chg="delSp modSp mod addCm delCm modCm">
        <pc:chgData name="Michael Bailit" userId="6e5c4604-85bf-41ef-8e97-4724b7d56589" providerId="ADAL" clId="{971DF829-B671-4100-8D40-F9172BC668D3}" dt="2020-11-06T17:20:08.147" v="2710" actId="255"/>
        <pc:sldMkLst>
          <pc:docMk/>
          <pc:sldMk cId="3830109214" sldId="1265"/>
        </pc:sldMkLst>
        <pc:spChg chg="mod">
          <ac:chgData name="Michael Bailit" userId="6e5c4604-85bf-41ef-8e97-4724b7d56589" providerId="ADAL" clId="{971DF829-B671-4100-8D40-F9172BC668D3}" dt="2020-11-06T17:20:08.147" v="2710" actId="255"/>
          <ac:spMkLst>
            <pc:docMk/>
            <pc:sldMk cId="3830109214" sldId="1265"/>
            <ac:spMk id="3" creationId="{8BBE5596-3756-40D5-A8E5-AB4F6AD61112}"/>
          </ac:spMkLst>
        </pc:spChg>
        <pc:spChg chg="del">
          <ac:chgData name="Michael Bailit" userId="6e5c4604-85bf-41ef-8e97-4724b7d56589" providerId="ADAL" clId="{971DF829-B671-4100-8D40-F9172BC668D3}" dt="2020-11-06T02:39:16.122" v="1093" actId="21"/>
          <ac:spMkLst>
            <pc:docMk/>
            <pc:sldMk cId="3830109214" sldId="1265"/>
            <ac:spMk id="4" creationId="{6C21F49C-6255-4E02-B6BD-3AAF954A86E8}"/>
          </ac:spMkLst>
        </pc:spChg>
      </pc:sldChg>
      <pc:sldChg chg="modSp mod">
        <pc:chgData name="Michael Bailit" userId="6e5c4604-85bf-41ef-8e97-4724b7d56589" providerId="ADAL" clId="{971DF829-B671-4100-8D40-F9172BC668D3}" dt="2020-11-06T01:45:43.567" v="12" actId="20577"/>
        <pc:sldMkLst>
          <pc:docMk/>
          <pc:sldMk cId="3123438988" sldId="1429"/>
        </pc:sldMkLst>
        <pc:spChg chg="mod">
          <ac:chgData name="Michael Bailit" userId="6e5c4604-85bf-41ef-8e97-4724b7d56589" providerId="ADAL" clId="{971DF829-B671-4100-8D40-F9172BC668D3}" dt="2020-11-06T01:45:43.567" v="12" actId="20577"/>
          <ac:spMkLst>
            <pc:docMk/>
            <pc:sldMk cId="3123438988" sldId="1429"/>
            <ac:spMk id="3" creationId="{8E396B14-F9D7-4ACC-AED3-6E88E76396F5}"/>
          </ac:spMkLst>
        </pc:spChg>
      </pc:sldChg>
      <pc:sldChg chg="addCm modCm">
        <pc:chgData name="Michael Bailit" userId="6e5c4604-85bf-41ef-8e97-4724b7d56589" providerId="ADAL" clId="{971DF829-B671-4100-8D40-F9172BC668D3}" dt="2020-11-06T13:55:18.964" v="2704"/>
        <pc:sldMkLst>
          <pc:docMk/>
          <pc:sldMk cId="994760883" sldId="1439"/>
        </pc:sldMkLst>
      </pc:sldChg>
      <pc:sldChg chg="modSp mod">
        <pc:chgData name="Michael Bailit" userId="6e5c4604-85bf-41ef-8e97-4724b7d56589" providerId="ADAL" clId="{971DF829-B671-4100-8D40-F9172BC668D3}" dt="2020-11-06T01:59:46.221" v="385" actId="948"/>
        <pc:sldMkLst>
          <pc:docMk/>
          <pc:sldMk cId="3467530768" sldId="1452"/>
        </pc:sldMkLst>
        <pc:spChg chg="mod">
          <ac:chgData name="Michael Bailit" userId="6e5c4604-85bf-41ef-8e97-4724b7d56589" providerId="ADAL" clId="{971DF829-B671-4100-8D40-F9172BC668D3}" dt="2020-11-06T01:59:46.221" v="385" actId="948"/>
          <ac:spMkLst>
            <pc:docMk/>
            <pc:sldMk cId="3467530768" sldId="1452"/>
            <ac:spMk id="3" creationId="{3DDF3C43-1B02-4850-9B9B-07DB523DC5AA}"/>
          </ac:spMkLst>
        </pc:spChg>
      </pc:sldChg>
      <pc:sldChg chg="modSp modAnim addCm delCm modCm">
        <pc:chgData name="Michael Bailit" userId="6e5c4604-85bf-41ef-8e97-4724b7d56589" providerId="ADAL" clId="{971DF829-B671-4100-8D40-F9172BC668D3}" dt="2020-11-06T17:18:34.585" v="2706" actId="1592"/>
        <pc:sldMkLst>
          <pc:docMk/>
          <pc:sldMk cId="2289856384" sldId="1458"/>
        </pc:sldMkLst>
        <pc:spChg chg="mod">
          <ac:chgData name="Michael Bailit" userId="6e5c4604-85bf-41ef-8e97-4724b7d56589" providerId="ADAL" clId="{971DF829-B671-4100-8D40-F9172BC668D3}" dt="2020-11-06T02:06:03.391" v="643" actId="20577"/>
          <ac:spMkLst>
            <pc:docMk/>
            <pc:sldMk cId="2289856384" sldId="1458"/>
            <ac:spMk id="3" creationId="{3DDF3C43-1B02-4850-9B9B-07DB523DC5AA}"/>
          </ac:spMkLst>
        </pc:spChg>
      </pc:sldChg>
      <pc:sldChg chg="modSp mod addCm delCm modCm">
        <pc:chgData name="Michael Bailit" userId="6e5c4604-85bf-41ef-8e97-4724b7d56589" providerId="ADAL" clId="{971DF829-B671-4100-8D40-F9172BC668D3}" dt="2020-11-06T17:20:47.901" v="2712" actId="1592"/>
        <pc:sldMkLst>
          <pc:docMk/>
          <pc:sldMk cId="1231809821" sldId="1469"/>
        </pc:sldMkLst>
        <pc:spChg chg="mod">
          <ac:chgData name="Michael Bailit" userId="6e5c4604-85bf-41ef-8e97-4724b7d56589" providerId="ADAL" clId="{971DF829-B671-4100-8D40-F9172BC668D3}" dt="2020-11-06T02:06:44.235" v="672" actId="20577"/>
          <ac:spMkLst>
            <pc:docMk/>
            <pc:sldMk cId="1231809821" sldId="1469"/>
            <ac:spMk id="3" creationId="{3DDF3C43-1B02-4850-9B9B-07DB523DC5AA}"/>
          </ac:spMkLst>
        </pc:spChg>
        <pc:graphicFrameChg chg="modGraphic">
          <ac:chgData name="Michael Bailit" userId="6e5c4604-85bf-41ef-8e97-4724b7d56589" providerId="ADAL" clId="{971DF829-B671-4100-8D40-F9172BC668D3}" dt="2020-11-06T02:15:58.333" v="957" actId="14100"/>
          <ac:graphicFrameMkLst>
            <pc:docMk/>
            <pc:sldMk cId="1231809821" sldId="1469"/>
            <ac:graphicFrameMk id="4" creationId="{3A40D677-0DAD-40CC-91E9-65BA9D8CD34B}"/>
          </ac:graphicFrameMkLst>
        </pc:graphicFrameChg>
      </pc:sldChg>
      <pc:sldChg chg="modSp mod">
        <pc:chgData name="Michael Bailit" userId="6e5c4604-85bf-41ef-8e97-4724b7d56589" providerId="ADAL" clId="{971DF829-B671-4100-8D40-F9172BC668D3}" dt="2020-11-06T02:15:42.514" v="955" actId="14100"/>
        <pc:sldMkLst>
          <pc:docMk/>
          <pc:sldMk cId="346840921" sldId="1470"/>
        </pc:sldMkLst>
        <pc:spChg chg="mod">
          <ac:chgData name="Michael Bailit" userId="6e5c4604-85bf-41ef-8e97-4724b7d56589" providerId="ADAL" clId="{971DF829-B671-4100-8D40-F9172BC668D3}" dt="2020-11-06T02:15:42.514" v="955" actId="14100"/>
          <ac:spMkLst>
            <pc:docMk/>
            <pc:sldMk cId="346840921" sldId="1470"/>
            <ac:spMk id="3" creationId="{3DDF3C43-1B02-4850-9B9B-07DB523DC5AA}"/>
          </ac:spMkLst>
        </pc:spChg>
        <pc:graphicFrameChg chg="modGraphic">
          <ac:chgData name="Michael Bailit" userId="6e5c4604-85bf-41ef-8e97-4724b7d56589" providerId="ADAL" clId="{971DF829-B671-4100-8D40-F9172BC668D3}" dt="2020-11-06T02:15:37.852" v="954" actId="14100"/>
          <ac:graphicFrameMkLst>
            <pc:docMk/>
            <pc:sldMk cId="346840921" sldId="1470"/>
            <ac:graphicFrameMk id="4" creationId="{66A288AB-DCC7-49F4-84BA-7C9A2458D319}"/>
          </ac:graphicFrameMkLst>
        </pc:graphicFrameChg>
      </pc:sldChg>
      <pc:sldChg chg="modSp mod">
        <pc:chgData name="Michael Bailit" userId="6e5c4604-85bf-41ef-8e97-4724b7d56589" providerId="ADAL" clId="{971DF829-B671-4100-8D40-F9172BC668D3}" dt="2020-11-06T02:15:51.612" v="956" actId="14100"/>
        <pc:sldMkLst>
          <pc:docMk/>
          <pc:sldMk cId="2741044330" sldId="1471"/>
        </pc:sldMkLst>
        <pc:graphicFrameChg chg="modGraphic">
          <ac:chgData name="Michael Bailit" userId="6e5c4604-85bf-41ef-8e97-4724b7d56589" providerId="ADAL" clId="{971DF829-B671-4100-8D40-F9172BC668D3}" dt="2020-11-06T02:15:51.612" v="956" actId="14100"/>
          <ac:graphicFrameMkLst>
            <pc:docMk/>
            <pc:sldMk cId="2741044330" sldId="1471"/>
            <ac:graphicFrameMk id="4" creationId="{3A40D677-0DAD-40CC-91E9-65BA9D8CD34B}"/>
          </ac:graphicFrameMkLst>
        </pc:graphicFrameChg>
      </pc:sldChg>
      <pc:sldChg chg="modSp mod addCm modCm">
        <pc:chgData name="Michael Bailit" userId="6e5c4604-85bf-41ef-8e97-4724b7d56589" providerId="ADAL" clId="{971DF829-B671-4100-8D40-F9172BC668D3}" dt="2020-11-06T01:53:23.535" v="174"/>
        <pc:sldMkLst>
          <pc:docMk/>
          <pc:sldMk cId="3130701180" sldId="1477"/>
        </pc:sldMkLst>
        <pc:spChg chg="mod">
          <ac:chgData name="Michael Bailit" userId="6e5c4604-85bf-41ef-8e97-4724b7d56589" providerId="ADAL" clId="{971DF829-B671-4100-8D40-F9172BC668D3}" dt="2020-11-06T01:49:40.782" v="165" actId="20577"/>
          <ac:spMkLst>
            <pc:docMk/>
            <pc:sldMk cId="3130701180" sldId="1477"/>
            <ac:spMk id="2" creationId="{E884CE18-EAA3-4DC4-9E6E-27FB963B1316}"/>
          </ac:spMkLst>
        </pc:spChg>
        <pc:spChg chg="mod">
          <ac:chgData name="Michael Bailit" userId="6e5c4604-85bf-41ef-8e97-4724b7d56589" providerId="ADAL" clId="{971DF829-B671-4100-8D40-F9172BC668D3}" dt="2020-11-06T01:52:38.935" v="172" actId="20577"/>
          <ac:spMkLst>
            <pc:docMk/>
            <pc:sldMk cId="3130701180" sldId="1477"/>
            <ac:spMk id="3" creationId="{C1BCA869-A43A-401D-ADC1-170551BC7D38}"/>
          </ac:spMkLst>
        </pc:spChg>
      </pc:sldChg>
      <pc:sldChg chg="modSp mod addCm delCm modCm">
        <pc:chgData name="Michael Bailit" userId="6e5c4604-85bf-41ef-8e97-4724b7d56589" providerId="ADAL" clId="{971DF829-B671-4100-8D40-F9172BC668D3}" dt="2020-11-06T17:21:09.739" v="2713" actId="948"/>
        <pc:sldMkLst>
          <pc:docMk/>
          <pc:sldMk cId="883325208" sldId="1480"/>
        </pc:sldMkLst>
        <pc:spChg chg="mod">
          <ac:chgData name="Michael Bailit" userId="6e5c4604-85bf-41ef-8e97-4724b7d56589" providerId="ADAL" clId="{971DF829-B671-4100-8D40-F9172BC668D3}" dt="2020-11-06T17:21:09.739" v="2713" actId="948"/>
          <ac:spMkLst>
            <pc:docMk/>
            <pc:sldMk cId="883325208" sldId="1480"/>
            <ac:spMk id="3" creationId="{3DDF3C43-1B02-4850-9B9B-07DB523DC5AA}"/>
          </ac:spMkLst>
        </pc:spChg>
        <pc:graphicFrameChg chg="modGraphic">
          <ac:chgData name="Michael Bailit" userId="6e5c4604-85bf-41ef-8e97-4724b7d56589" providerId="ADAL" clId="{971DF829-B671-4100-8D40-F9172BC668D3}" dt="2020-11-06T02:46:53.444" v="1249" actId="20577"/>
          <ac:graphicFrameMkLst>
            <pc:docMk/>
            <pc:sldMk cId="883325208" sldId="1480"/>
            <ac:graphicFrameMk id="7" creationId="{CF7DF3CA-4D0E-4A94-BB91-3ABCE2323C64}"/>
          </ac:graphicFrameMkLst>
        </pc:graphicFrameChg>
      </pc:sldChg>
      <pc:sldChg chg="modSp mod addCm delCm modCm">
        <pc:chgData name="Michael Bailit" userId="6e5c4604-85bf-41ef-8e97-4724b7d56589" providerId="ADAL" clId="{971DF829-B671-4100-8D40-F9172BC668D3}" dt="2020-11-06T17:27:22.907" v="2881" actId="20577"/>
        <pc:sldMkLst>
          <pc:docMk/>
          <pc:sldMk cId="1541576896" sldId="1481"/>
        </pc:sldMkLst>
        <pc:graphicFrameChg chg="modGraphic">
          <ac:chgData name="Michael Bailit" userId="6e5c4604-85bf-41ef-8e97-4724b7d56589" providerId="ADAL" clId="{971DF829-B671-4100-8D40-F9172BC668D3}" dt="2020-11-06T17:27:22.907" v="2881" actId="20577"/>
          <ac:graphicFrameMkLst>
            <pc:docMk/>
            <pc:sldMk cId="1541576896" sldId="1481"/>
            <ac:graphicFrameMk id="7" creationId="{5D50B392-E111-4064-B983-4DDEC2E31632}"/>
          </ac:graphicFrameMkLst>
        </pc:graphicFrameChg>
      </pc:sldChg>
      <pc:sldChg chg="modSp mod">
        <pc:chgData name="Michael Bailit" userId="6e5c4604-85bf-41ef-8e97-4724b7d56589" providerId="ADAL" clId="{971DF829-B671-4100-8D40-F9172BC668D3}" dt="2020-11-06T01:56:20.196" v="301" actId="20577"/>
        <pc:sldMkLst>
          <pc:docMk/>
          <pc:sldMk cId="1280005851" sldId="1490"/>
        </pc:sldMkLst>
        <pc:spChg chg="mod">
          <ac:chgData name="Michael Bailit" userId="6e5c4604-85bf-41ef-8e97-4724b7d56589" providerId="ADAL" clId="{971DF829-B671-4100-8D40-F9172BC668D3}" dt="2020-11-06T01:55:50.789" v="276" actId="20577"/>
          <ac:spMkLst>
            <pc:docMk/>
            <pc:sldMk cId="1280005851" sldId="1490"/>
            <ac:spMk id="2" creationId="{9432978E-2012-4078-9A63-D04B19A2891E}"/>
          </ac:spMkLst>
        </pc:spChg>
        <pc:spChg chg="mod">
          <ac:chgData name="Michael Bailit" userId="6e5c4604-85bf-41ef-8e97-4724b7d56589" providerId="ADAL" clId="{971DF829-B671-4100-8D40-F9172BC668D3}" dt="2020-11-06T01:56:20.196" v="301" actId="20577"/>
          <ac:spMkLst>
            <pc:docMk/>
            <pc:sldMk cId="1280005851" sldId="1490"/>
            <ac:spMk id="3" creationId="{6F1E2E44-5FF8-46B1-8964-B2D4D2EC3797}"/>
          </ac:spMkLst>
        </pc:spChg>
      </pc:sldChg>
      <pc:sldChg chg="modSp mod">
        <pc:chgData name="Michael Bailit" userId="6e5c4604-85bf-41ef-8e97-4724b7d56589" providerId="ADAL" clId="{971DF829-B671-4100-8D40-F9172BC668D3}" dt="2020-11-06T01:56:54.427" v="341" actId="20577"/>
        <pc:sldMkLst>
          <pc:docMk/>
          <pc:sldMk cId="3369010947" sldId="1491"/>
        </pc:sldMkLst>
        <pc:spChg chg="mod">
          <ac:chgData name="Michael Bailit" userId="6e5c4604-85bf-41ef-8e97-4724b7d56589" providerId="ADAL" clId="{971DF829-B671-4100-8D40-F9172BC668D3}" dt="2020-11-06T01:56:54.427" v="341" actId="20577"/>
          <ac:spMkLst>
            <pc:docMk/>
            <pc:sldMk cId="3369010947" sldId="1491"/>
            <ac:spMk id="3" creationId="{F7D7F84C-13E6-42F0-BC96-95044985E332}"/>
          </ac:spMkLst>
        </pc:spChg>
      </pc:sldChg>
      <pc:sldChg chg="modSp mod">
        <pc:chgData name="Michael Bailit" userId="6e5c4604-85bf-41ef-8e97-4724b7d56589" providerId="ADAL" clId="{971DF829-B671-4100-8D40-F9172BC668D3}" dt="2020-11-06T02:17:58.598" v="1003" actId="20577"/>
        <pc:sldMkLst>
          <pc:docMk/>
          <pc:sldMk cId="690201876" sldId="1492"/>
        </pc:sldMkLst>
        <pc:spChg chg="mod">
          <ac:chgData name="Michael Bailit" userId="6e5c4604-85bf-41ef-8e97-4724b7d56589" providerId="ADAL" clId="{971DF829-B671-4100-8D40-F9172BC668D3}" dt="2020-11-06T02:17:38.819" v="992" actId="20577"/>
          <ac:spMkLst>
            <pc:docMk/>
            <pc:sldMk cId="690201876" sldId="1492"/>
            <ac:spMk id="7" creationId="{748B19C1-E7D4-48D0-A896-4C8873DC0253}"/>
          </ac:spMkLst>
        </pc:spChg>
        <pc:graphicFrameChg chg="modGraphic">
          <ac:chgData name="Michael Bailit" userId="6e5c4604-85bf-41ef-8e97-4724b7d56589" providerId="ADAL" clId="{971DF829-B671-4100-8D40-F9172BC668D3}" dt="2020-11-06T02:17:58.598" v="1003" actId="20577"/>
          <ac:graphicFrameMkLst>
            <pc:docMk/>
            <pc:sldMk cId="690201876" sldId="1492"/>
            <ac:graphicFrameMk id="4" creationId="{2BF16781-B2A9-4BFA-A6A2-944B11AC9EC1}"/>
          </ac:graphicFrameMkLst>
        </pc:graphicFrameChg>
      </pc:sldChg>
      <pc:sldChg chg="modSp mod addCm modCm">
        <pc:chgData name="Michael Bailit" userId="6e5c4604-85bf-41ef-8e97-4724b7d56589" providerId="ADAL" clId="{971DF829-B671-4100-8D40-F9172BC668D3}" dt="2020-11-06T17:19:37.315" v="2708" actId="20577"/>
        <pc:sldMkLst>
          <pc:docMk/>
          <pc:sldMk cId="4034940866" sldId="1494"/>
        </pc:sldMkLst>
        <pc:spChg chg="mod">
          <ac:chgData name="Michael Bailit" userId="6e5c4604-85bf-41ef-8e97-4724b7d56589" providerId="ADAL" clId="{971DF829-B671-4100-8D40-F9172BC668D3}" dt="2020-11-06T17:19:37.315" v="2708" actId="20577"/>
          <ac:spMkLst>
            <pc:docMk/>
            <pc:sldMk cId="4034940866" sldId="1494"/>
            <ac:spMk id="3" creationId="{69A637CC-A6D3-43C2-A573-C252C5DD37E7}"/>
          </ac:spMkLst>
        </pc:spChg>
      </pc:sldChg>
      <pc:sldChg chg="modSp mod addCm delCm modCm">
        <pc:chgData name="Michael Bailit" userId="6e5c4604-85bf-41ef-8e97-4724b7d56589" providerId="ADAL" clId="{971DF829-B671-4100-8D40-F9172BC668D3}" dt="2020-11-06T17:22:55.948" v="2806" actId="948"/>
        <pc:sldMkLst>
          <pc:docMk/>
          <pc:sldMk cId="245000583" sldId="1495"/>
        </pc:sldMkLst>
        <pc:spChg chg="mod">
          <ac:chgData name="Michael Bailit" userId="6e5c4604-85bf-41ef-8e97-4724b7d56589" providerId="ADAL" clId="{971DF829-B671-4100-8D40-F9172BC668D3}" dt="2020-11-06T17:22:55.948" v="2806" actId="948"/>
          <ac:spMkLst>
            <pc:docMk/>
            <pc:sldMk cId="245000583" sldId="1495"/>
            <ac:spMk id="3" creationId="{A1C527C8-BEEB-4F96-9450-E5AEDAF77F6C}"/>
          </ac:spMkLst>
        </pc:spChg>
      </pc:sldChg>
      <pc:sldChg chg="modSp mod">
        <pc:chgData name="Michael Bailit" userId="6e5c4604-85bf-41ef-8e97-4724b7d56589" providerId="ADAL" clId="{971DF829-B671-4100-8D40-F9172BC668D3}" dt="2020-11-06T01:45:54.679" v="23" actId="20577"/>
        <pc:sldMkLst>
          <pc:docMk/>
          <pc:sldMk cId="184558784" sldId="1496"/>
        </pc:sldMkLst>
        <pc:spChg chg="mod">
          <ac:chgData name="Michael Bailit" userId="6e5c4604-85bf-41ef-8e97-4724b7d56589" providerId="ADAL" clId="{971DF829-B671-4100-8D40-F9172BC668D3}" dt="2020-11-06T01:45:54.679" v="23" actId="20577"/>
          <ac:spMkLst>
            <pc:docMk/>
            <pc:sldMk cId="184558784" sldId="1496"/>
            <ac:spMk id="3" creationId="{8E396B14-F9D7-4ACC-AED3-6E88E76396F5}"/>
          </ac:spMkLst>
        </pc:spChg>
      </pc:sldChg>
      <pc:sldChg chg="modSp mod">
        <pc:chgData name="Michael Bailit" userId="6e5c4604-85bf-41ef-8e97-4724b7d56589" providerId="ADAL" clId="{971DF829-B671-4100-8D40-F9172BC668D3}" dt="2020-11-06T01:58:59.559" v="384" actId="20577"/>
        <pc:sldMkLst>
          <pc:docMk/>
          <pc:sldMk cId="2799852487" sldId="1497"/>
        </pc:sldMkLst>
        <pc:spChg chg="mod">
          <ac:chgData name="Michael Bailit" userId="6e5c4604-85bf-41ef-8e97-4724b7d56589" providerId="ADAL" clId="{971DF829-B671-4100-8D40-F9172BC668D3}" dt="2020-11-06T01:58:59.559" v="384" actId="20577"/>
          <ac:spMkLst>
            <pc:docMk/>
            <pc:sldMk cId="2799852487" sldId="1497"/>
            <ac:spMk id="3" creationId="{8E396B14-F9D7-4ACC-AED3-6E88E76396F5}"/>
          </ac:spMkLst>
        </pc:spChg>
      </pc:sldChg>
      <pc:sldChg chg="modSp mod">
        <pc:chgData name="Michael Bailit" userId="6e5c4604-85bf-41ef-8e97-4724b7d56589" providerId="ADAL" clId="{971DF829-B671-4100-8D40-F9172BC668D3}" dt="2020-11-06T02:16:14.886" v="972" actId="20577"/>
        <pc:sldMkLst>
          <pc:docMk/>
          <pc:sldMk cId="1243887270" sldId="1498"/>
        </pc:sldMkLst>
        <pc:spChg chg="mod">
          <ac:chgData name="Michael Bailit" userId="6e5c4604-85bf-41ef-8e97-4724b7d56589" providerId="ADAL" clId="{971DF829-B671-4100-8D40-F9172BC668D3}" dt="2020-11-06T02:16:14.886" v="972" actId="20577"/>
          <ac:spMkLst>
            <pc:docMk/>
            <pc:sldMk cId="1243887270" sldId="1498"/>
            <ac:spMk id="3" creationId="{8E396B14-F9D7-4ACC-AED3-6E88E76396F5}"/>
          </ac:spMkLst>
        </pc:spChg>
      </pc:sldChg>
      <pc:sldChg chg="modSp mod">
        <pc:chgData name="Michael Bailit" userId="6e5c4604-85bf-41ef-8e97-4724b7d56589" providerId="ADAL" clId="{971DF829-B671-4100-8D40-F9172BC668D3}" dt="2020-11-06T02:41:53.983" v="1183" actId="20577"/>
        <pc:sldMkLst>
          <pc:docMk/>
          <pc:sldMk cId="831014981" sldId="1499"/>
        </pc:sldMkLst>
        <pc:spChg chg="mod">
          <ac:chgData name="Michael Bailit" userId="6e5c4604-85bf-41ef-8e97-4724b7d56589" providerId="ADAL" clId="{971DF829-B671-4100-8D40-F9172BC668D3}" dt="2020-11-06T02:41:53.983" v="1183" actId="20577"/>
          <ac:spMkLst>
            <pc:docMk/>
            <pc:sldMk cId="831014981" sldId="1499"/>
            <ac:spMk id="3" creationId="{8E396B14-F9D7-4ACC-AED3-6E88E76396F5}"/>
          </ac:spMkLst>
        </pc:spChg>
      </pc:sldChg>
      <pc:sldChg chg="modSp mod">
        <pc:chgData name="Michael Bailit" userId="6e5c4604-85bf-41ef-8e97-4724b7d56589" providerId="ADAL" clId="{971DF829-B671-4100-8D40-F9172BC668D3}" dt="2020-11-06T13:14:22.224" v="1957" actId="1076"/>
        <pc:sldMkLst>
          <pc:docMk/>
          <pc:sldMk cId="666351884" sldId="1500"/>
        </pc:sldMkLst>
        <pc:spChg chg="mod">
          <ac:chgData name="Michael Bailit" userId="6e5c4604-85bf-41ef-8e97-4724b7d56589" providerId="ADAL" clId="{971DF829-B671-4100-8D40-F9172BC668D3}" dt="2020-11-06T13:14:16.421" v="1956" actId="20577"/>
          <ac:spMkLst>
            <pc:docMk/>
            <pc:sldMk cId="666351884" sldId="1500"/>
            <ac:spMk id="3" creationId="{8E396B14-F9D7-4ACC-AED3-6E88E76396F5}"/>
          </ac:spMkLst>
        </pc:spChg>
        <pc:spChg chg="mod">
          <ac:chgData name="Michael Bailit" userId="6e5c4604-85bf-41ef-8e97-4724b7d56589" providerId="ADAL" clId="{971DF829-B671-4100-8D40-F9172BC668D3}" dt="2020-11-06T13:14:22.224" v="1957" actId="1076"/>
          <ac:spMkLst>
            <pc:docMk/>
            <pc:sldMk cId="666351884" sldId="1500"/>
            <ac:spMk id="5" creationId="{D3915D3D-656E-48AA-8D63-358A7E5AA453}"/>
          </ac:spMkLst>
        </pc:spChg>
      </pc:sldChg>
      <pc:sldChg chg="modSp mod">
        <pc:chgData name="Michael Bailit" userId="6e5c4604-85bf-41ef-8e97-4724b7d56589" providerId="ADAL" clId="{971DF829-B671-4100-8D40-F9172BC668D3}" dt="2020-11-06T13:54:12.930" v="2702" actId="20577"/>
        <pc:sldMkLst>
          <pc:docMk/>
          <pc:sldMk cId="2992463776" sldId="1501"/>
        </pc:sldMkLst>
        <pc:spChg chg="mod">
          <ac:chgData name="Michael Bailit" userId="6e5c4604-85bf-41ef-8e97-4724b7d56589" providerId="ADAL" clId="{971DF829-B671-4100-8D40-F9172BC668D3}" dt="2020-11-06T13:54:12.930" v="2702" actId="20577"/>
          <ac:spMkLst>
            <pc:docMk/>
            <pc:sldMk cId="2992463776" sldId="1501"/>
            <ac:spMk id="3" creationId="{8E396B14-F9D7-4ACC-AED3-6E88E76396F5}"/>
          </ac:spMkLst>
        </pc:spChg>
      </pc:sldChg>
      <pc:sldChg chg="modSp mod modAnim addCm modCm">
        <pc:chgData name="Michael Bailit" userId="6e5c4604-85bf-41ef-8e97-4724b7d56589" providerId="ADAL" clId="{971DF829-B671-4100-8D40-F9172BC668D3}" dt="2020-11-06T13:54:02.483" v="2691"/>
        <pc:sldMkLst>
          <pc:docMk/>
          <pc:sldMk cId="4174825195" sldId="1502"/>
        </pc:sldMkLst>
        <pc:spChg chg="mod">
          <ac:chgData name="Michael Bailit" userId="6e5c4604-85bf-41ef-8e97-4724b7d56589" providerId="ADAL" clId="{971DF829-B671-4100-8D40-F9172BC668D3}" dt="2020-11-06T13:51:10.646" v="2687" actId="20577"/>
          <ac:spMkLst>
            <pc:docMk/>
            <pc:sldMk cId="4174825195" sldId="1502"/>
            <ac:spMk id="3" creationId="{42550BD9-BE77-483C-852F-A54A485DF057}"/>
          </ac:spMkLst>
        </pc:spChg>
      </pc:sldChg>
      <pc:sldChg chg="modSp mod">
        <pc:chgData name="Michael Bailit" userId="6e5c4604-85bf-41ef-8e97-4724b7d56589" providerId="ADAL" clId="{971DF829-B671-4100-8D40-F9172BC668D3}" dt="2020-11-06T17:30:34.425" v="2989" actId="12"/>
        <pc:sldMkLst>
          <pc:docMk/>
          <pc:sldMk cId="173962392" sldId="1505"/>
        </pc:sldMkLst>
        <pc:spChg chg="mod">
          <ac:chgData name="Michael Bailit" userId="6e5c4604-85bf-41ef-8e97-4724b7d56589" providerId="ADAL" clId="{971DF829-B671-4100-8D40-F9172BC668D3}" dt="2020-11-06T17:30:34.425" v="2989" actId="12"/>
          <ac:spMkLst>
            <pc:docMk/>
            <pc:sldMk cId="173962392" sldId="1505"/>
            <ac:spMk id="3" creationId="{F122E5D3-5428-4FD0-BEE7-843B9B49CC20}"/>
          </ac:spMkLst>
        </pc:spChg>
        <pc:spChg chg="mod">
          <ac:chgData name="Michael Bailit" userId="6e5c4604-85bf-41ef-8e97-4724b7d56589" providerId="ADAL" clId="{971DF829-B671-4100-8D40-F9172BC668D3}" dt="2020-11-06T13:23:46.996" v="2302" actId="20577"/>
          <ac:spMkLst>
            <pc:docMk/>
            <pc:sldMk cId="173962392" sldId="1505"/>
            <ac:spMk id="4" creationId="{E9650F29-3829-42EF-AE85-2FB692F287FB}"/>
          </ac:spMkLst>
        </pc:spChg>
      </pc:sldChg>
      <pc:sldChg chg="delSp modSp mod addCm delCm modCm">
        <pc:chgData name="Michael Bailit" userId="6e5c4604-85bf-41ef-8e97-4724b7d56589" providerId="ADAL" clId="{971DF829-B671-4100-8D40-F9172BC668D3}" dt="2020-11-06T17:33:42.893" v="3073" actId="20577"/>
        <pc:sldMkLst>
          <pc:docMk/>
          <pc:sldMk cId="1058099442" sldId="1506"/>
        </pc:sldMkLst>
        <pc:spChg chg="mod">
          <ac:chgData name="Michael Bailit" userId="6e5c4604-85bf-41ef-8e97-4724b7d56589" providerId="ADAL" clId="{971DF829-B671-4100-8D40-F9172BC668D3}" dt="2020-11-06T17:33:42.893" v="3073" actId="20577"/>
          <ac:spMkLst>
            <pc:docMk/>
            <pc:sldMk cId="1058099442" sldId="1506"/>
            <ac:spMk id="3" creationId="{F122E5D3-5428-4FD0-BEE7-843B9B49CC20}"/>
          </ac:spMkLst>
        </pc:spChg>
        <pc:spChg chg="del mod">
          <ac:chgData name="Michael Bailit" userId="6e5c4604-85bf-41ef-8e97-4724b7d56589" providerId="ADAL" clId="{971DF829-B671-4100-8D40-F9172BC668D3}" dt="2020-11-06T17:33:11.097" v="3049" actId="21"/>
          <ac:spMkLst>
            <pc:docMk/>
            <pc:sldMk cId="1058099442" sldId="1506"/>
            <ac:spMk id="4" creationId="{9A07CBB3-38F7-4C6F-B780-E812270386B7}"/>
          </ac:spMkLst>
        </pc:spChg>
      </pc:sldChg>
      <pc:sldChg chg="modSp mod">
        <pc:chgData name="Michael Bailit" userId="6e5c4604-85bf-41ef-8e97-4724b7d56589" providerId="ADAL" clId="{971DF829-B671-4100-8D40-F9172BC668D3}" dt="2020-11-06T13:18:05.742" v="2037" actId="20577"/>
        <pc:sldMkLst>
          <pc:docMk/>
          <pc:sldMk cId="2090324227" sldId="1507"/>
        </pc:sldMkLst>
        <pc:spChg chg="mod">
          <ac:chgData name="Michael Bailit" userId="6e5c4604-85bf-41ef-8e97-4724b7d56589" providerId="ADAL" clId="{971DF829-B671-4100-8D40-F9172BC668D3}" dt="2020-11-06T13:18:05.742" v="2037" actId="20577"/>
          <ac:spMkLst>
            <pc:docMk/>
            <pc:sldMk cId="2090324227" sldId="1507"/>
            <ac:spMk id="3" creationId="{F122E5D3-5428-4FD0-BEE7-843B9B49CC20}"/>
          </ac:spMkLst>
        </pc:spChg>
      </pc:sldChg>
      <pc:sldChg chg="modSp mod">
        <pc:chgData name="Michael Bailit" userId="6e5c4604-85bf-41ef-8e97-4724b7d56589" providerId="ADAL" clId="{971DF829-B671-4100-8D40-F9172BC668D3}" dt="2020-11-06T17:29:52.267" v="2985" actId="20577"/>
        <pc:sldMkLst>
          <pc:docMk/>
          <pc:sldMk cId="1902974447" sldId="1508"/>
        </pc:sldMkLst>
        <pc:spChg chg="mod">
          <ac:chgData name="Michael Bailit" userId="6e5c4604-85bf-41ef-8e97-4724b7d56589" providerId="ADAL" clId="{971DF829-B671-4100-8D40-F9172BC668D3}" dt="2020-11-06T17:29:52.267" v="2985" actId="20577"/>
          <ac:spMkLst>
            <pc:docMk/>
            <pc:sldMk cId="1902974447" sldId="1508"/>
            <ac:spMk id="3" creationId="{0B3483BA-1404-4855-A8DE-0F782AB9B6DB}"/>
          </ac:spMkLst>
        </pc:spChg>
      </pc:sldChg>
      <pc:sldChg chg="modSp mod addCm delCm modCm">
        <pc:chgData name="Michael Bailit" userId="6e5c4604-85bf-41ef-8e97-4724b7d56589" providerId="ADAL" clId="{971DF829-B671-4100-8D40-F9172BC668D3}" dt="2020-11-06T17:24:38.070" v="2814" actId="207"/>
        <pc:sldMkLst>
          <pc:docMk/>
          <pc:sldMk cId="1958059492" sldId="1509"/>
        </pc:sldMkLst>
        <pc:spChg chg="mod">
          <ac:chgData name="Michael Bailit" userId="6e5c4604-85bf-41ef-8e97-4724b7d56589" providerId="ADAL" clId="{971DF829-B671-4100-8D40-F9172BC668D3}" dt="2020-11-06T13:04:47.606" v="1889" actId="20577"/>
          <ac:spMkLst>
            <pc:docMk/>
            <pc:sldMk cId="1958059492" sldId="1509"/>
            <ac:spMk id="2" creationId="{E868C5EF-3C61-4F3D-8A77-7720B8D25001}"/>
          </ac:spMkLst>
        </pc:spChg>
        <pc:spChg chg="mod">
          <ac:chgData name="Michael Bailit" userId="6e5c4604-85bf-41ef-8e97-4724b7d56589" providerId="ADAL" clId="{971DF829-B671-4100-8D40-F9172BC668D3}" dt="2020-11-06T02:50:24.131" v="1266" actId="14100"/>
          <ac:spMkLst>
            <pc:docMk/>
            <pc:sldMk cId="1958059492" sldId="1509"/>
            <ac:spMk id="3" creationId="{216BDBF3-AD75-48CD-AB7C-5D5CDB6E9F43}"/>
          </ac:spMkLst>
        </pc:spChg>
        <pc:spChg chg="mod">
          <ac:chgData name="Michael Bailit" userId="6e5c4604-85bf-41ef-8e97-4724b7d56589" providerId="ADAL" clId="{971DF829-B671-4100-8D40-F9172BC668D3}" dt="2020-11-06T17:24:38.070" v="2814" actId="207"/>
          <ac:spMkLst>
            <pc:docMk/>
            <pc:sldMk cId="1958059492" sldId="1509"/>
            <ac:spMk id="4" creationId="{0F40D6B6-C06F-4D56-A06A-A496A4A81583}"/>
          </ac:spMkLst>
        </pc:spChg>
      </pc:sldChg>
      <pc:sldChg chg="delSp modSp mod addCm delCm modCm">
        <pc:chgData name="Michael Bailit" userId="6e5c4604-85bf-41ef-8e97-4724b7d56589" providerId="ADAL" clId="{971DF829-B671-4100-8D40-F9172BC668D3}" dt="2020-11-06T17:36:53.275" v="3083" actId="20577"/>
        <pc:sldMkLst>
          <pc:docMk/>
          <pc:sldMk cId="1534380008" sldId="1510"/>
        </pc:sldMkLst>
        <pc:spChg chg="del mod">
          <ac:chgData name="Michael Bailit" userId="6e5c4604-85bf-41ef-8e97-4724b7d56589" providerId="ADAL" clId="{971DF829-B671-4100-8D40-F9172BC668D3}" dt="2020-11-06T17:33:55.634" v="3074" actId="21"/>
          <ac:spMkLst>
            <pc:docMk/>
            <pc:sldMk cId="1534380008" sldId="1510"/>
            <ac:spMk id="3" creationId="{7A5B5E05-BBFF-4603-8123-B0C2F659BA49}"/>
          </ac:spMkLst>
        </pc:spChg>
        <pc:graphicFrameChg chg="modGraphic">
          <ac:chgData name="Michael Bailit" userId="6e5c4604-85bf-41ef-8e97-4724b7d56589" providerId="ADAL" clId="{971DF829-B671-4100-8D40-F9172BC668D3}" dt="2020-11-06T17:36:53.275" v="3083" actId="20577"/>
          <ac:graphicFrameMkLst>
            <pc:docMk/>
            <pc:sldMk cId="1534380008" sldId="1510"/>
            <ac:graphicFrameMk id="7" creationId="{5D50B392-E111-4064-B983-4DDEC2E31632}"/>
          </ac:graphicFrameMkLst>
        </pc:graphicFrameChg>
      </pc:sldChg>
      <pc:sldChg chg="modSp mod">
        <pc:chgData name="Michael Bailit" userId="6e5c4604-85bf-41ef-8e97-4724b7d56589" providerId="ADAL" clId="{971DF829-B671-4100-8D40-F9172BC668D3}" dt="2020-11-06T03:07:17.012" v="1631"/>
        <pc:sldMkLst>
          <pc:docMk/>
          <pc:sldMk cId="3336706788" sldId="1511"/>
        </pc:sldMkLst>
        <pc:graphicFrameChg chg="mod modGraphic">
          <ac:chgData name="Michael Bailit" userId="6e5c4604-85bf-41ef-8e97-4724b7d56589" providerId="ADAL" clId="{971DF829-B671-4100-8D40-F9172BC668D3}" dt="2020-11-06T03:07:17.012" v="1631"/>
          <ac:graphicFrameMkLst>
            <pc:docMk/>
            <pc:sldMk cId="3336706788" sldId="1511"/>
            <ac:graphicFrameMk id="7" creationId="{5D50B392-E111-4064-B983-4DDEC2E31632}"/>
          </ac:graphicFrameMkLst>
        </pc:graphicFrameChg>
      </pc:sldChg>
      <pc:sldChg chg="modSp mod addCm modCm">
        <pc:chgData name="Michael Bailit" userId="6e5c4604-85bf-41ef-8e97-4724b7d56589" providerId="ADAL" clId="{971DF829-B671-4100-8D40-F9172BC668D3}" dt="2020-11-06T01:58:51.899" v="373" actId="5900"/>
        <pc:sldMkLst>
          <pc:docMk/>
          <pc:sldMk cId="106047338" sldId="1512"/>
        </pc:sldMkLst>
        <pc:spChg chg="mod">
          <ac:chgData name="Michael Bailit" userId="6e5c4604-85bf-41ef-8e97-4724b7d56589" providerId="ADAL" clId="{971DF829-B671-4100-8D40-F9172BC668D3}" dt="2020-11-06T01:58:45.188" v="372" actId="20577"/>
          <ac:spMkLst>
            <pc:docMk/>
            <pc:sldMk cId="106047338" sldId="1512"/>
            <ac:spMk id="3" creationId="{F7D7F84C-13E6-42F0-BC96-95044985E332}"/>
          </ac:spMkLst>
        </pc:spChg>
      </pc:sldChg>
      <pc:sldChg chg="delSp modSp mod">
        <pc:chgData name="Michael Bailit" userId="6e5c4604-85bf-41ef-8e97-4724b7d56589" providerId="ADAL" clId="{971DF829-B671-4100-8D40-F9172BC668D3}" dt="2020-11-06T17:28:14.070" v="2884" actId="207"/>
        <pc:sldMkLst>
          <pc:docMk/>
          <pc:sldMk cId="2196500935" sldId="1514"/>
        </pc:sldMkLst>
        <pc:spChg chg="mod">
          <ac:chgData name="Michael Bailit" userId="6e5c4604-85bf-41ef-8e97-4724b7d56589" providerId="ADAL" clId="{971DF829-B671-4100-8D40-F9172BC668D3}" dt="2020-11-06T13:04:56.307" v="1900" actId="20577"/>
          <ac:spMkLst>
            <pc:docMk/>
            <pc:sldMk cId="2196500935" sldId="1514"/>
            <ac:spMk id="2" creationId="{25EEEB2C-AAA9-41AE-BA42-09D490E33EC5}"/>
          </ac:spMkLst>
        </pc:spChg>
        <pc:spChg chg="mod">
          <ac:chgData name="Michael Bailit" userId="6e5c4604-85bf-41ef-8e97-4724b7d56589" providerId="ADAL" clId="{971DF829-B671-4100-8D40-F9172BC668D3}" dt="2020-11-06T13:03:14.017" v="1852" actId="20577"/>
          <ac:spMkLst>
            <pc:docMk/>
            <pc:sldMk cId="2196500935" sldId="1514"/>
            <ac:spMk id="3" creationId="{9EFA7465-A6CC-4B43-B59E-0DA449C0E0EC}"/>
          </ac:spMkLst>
        </pc:spChg>
        <pc:spChg chg="mod">
          <ac:chgData name="Michael Bailit" userId="6e5c4604-85bf-41ef-8e97-4724b7d56589" providerId="ADAL" clId="{971DF829-B671-4100-8D40-F9172BC668D3}" dt="2020-11-06T17:28:08.221" v="2883" actId="207"/>
          <ac:spMkLst>
            <pc:docMk/>
            <pc:sldMk cId="2196500935" sldId="1514"/>
            <ac:spMk id="4" creationId="{039E1590-BBAC-4826-92B4-49635B368B2B}"/>
          </ac:spMkLst>
        </pc:spChg>
        <pc:spChg chg="del">
          <ac:chgData name="Michael Bailit" userId="6e5c4604-85bf-41ef-8e97-4724b7d56589" providerId="ADAL" clId="{971DF829-B671-4100-8D40-F9172BC668D3}" dt="2020-11-06T17:27:57.690" v="2882" actId="21"/>
          <ac:spMkLst>
            <pc:docMk/>
            <pc:sldMk cId="2196500935" sldId="1514"/>
            <ac:spMk id="7" creationId="{21533000-D182-4410-A603-6FB5C1A0DA95}"/>
          </ac:spMkLst>
        </pc:spChg>
        <pc:spChg chg="mod">
          <ac:chgData name="Michael Bailit" userId="6e5c4604-85bf-41ef-8e97-4724b7d56589" providerId="ADAL" clId="{971DF829-B671-4100-8D40-F9172BC668D3}" dt="2020-11-06T17:28:14.070" v="2884" actId="207"/>
          <ac:spMkLst>
            <pc:docMk/>
            <pc:sldMk cId="2196500935" sldId="1514"/>
            <ac:spMk id="8" creationId="{4434C0B3-7C3E-4089-9EC3-05C08D98F287}"/>
          </ac:spMkLst>
        </pc:spChg>
      </pc:sldChg>
      <pc:sldChg chg="modSp mod addCm delCm modCm">
        <pc:chgData name="Michael Bailit" userId="6e5c4604-85bf-41ef-8e97-4724b7d56589" providerId="ADAL" clId="{971DF829-B671-4100-8D40-F9172BC668D3}" dt="2020-11-06T13:12:22.024" v="1943" actId="113"/>
        <pc:sldMkLst>
          <pc:docMk/>
          <pc:sldMk cId="4282725040" sldId="1515"/>
        </pc:sldMkLst>
        <pc:spChg chg="mod">
          <ac:chgData name="Michael Bailit" userId="6e5c4604-85bf-41ef-8e97-4724b7d56589" providerId="ADAL" clId="{971DF829-B671-4100-8D40-F9172BC668D3}" dt="2020-11-06T13:12:22.024" v="1943" actId="113"/>
          <ac:spMkLst>
            <pc:docMk/>
            <pc:sldMk cId="4282725040" sldId="1515"/>
            <ac:spMk id="3" creationId="{9EFA7465-A6CC-4B43-B59E-0DA449C0E0EC}"/>
          </ac:spMkLst>
        </pc:spChg>
      </pc:sldChg>
      <pc:sldChg chg="modSp mod addCm delCm modCm">
        <pc:chgData name="Michael Bailit" userId="6e5c4604-85bf-41ef-8e97-4724b7d56589" providerId="ADAL" clId="{971DF829-B671-4100-8D40-F9172BC668D3}" dt="2020-11-06T17:31:49.631" v="2996" actId="1592"/>
        <pc:sldMkLst>
          <pc:docMk/>
          <pc:sldMk cId="836771716" sldId="1516"/>
        </pc:sldMkLst>
        <pc:spChg chg="mod">
          <ac:chgData name="Michael Bailit" userId="6e5c4604-85bf-41ef-8e97-4724b7d56589" providerId="ADAL" clId="{971DF829-B671-4100-8D40-F9172BC668D3}" dt="2020-11-06T17:31:27.844" v="2995" actId="11"/>
          <ac:spMkLst>
            <pc:docMk/>
            <pc:sldMk cId="836771716" sldId="1516"/>
            <ac:spMk id="3" creationId="{F122E5D3-5428-4FD0-BEE7-843B9B49CC20}"/>
          </ac:spMkLst>
        </pc:spChg>
        <pc:graphicFrameChg chg="modGraphic">
          <ac:chgData name="Michael Bailit" userId="6e5c4604-85bf-41ef-8e97-4724b7d56589" providerId="ADAL" clId="{971DF829-B671-4100-8D40-F9172BC668D3}" dt="2020-11-06T13:25:00.364" v="2325" actId="20577"/>
          <ac:graphicFrameMkLst>
            <pc:docMk/>
            <pc:sldMk cId="836771716" sldId="1516"/>
            <ac:graphicFrameMk id="7" creationId="{3C4736C9-A0B0-4259-8355-A3BDBE51DB35}"/>
          </ac:graphicFrameMkLst>
        </pc:graphicFrameChg>
      </pc:sldChg>
      <pc:sldChg chg="addCm modCm">
        <pc:chgData name="Michael Bailit" userId="6e5c4604-85bf-41ef-8e97-4724b7d56589" providerId="ADAL" clId="{971DF829-B671-4100-8D40-F9172BC668D3}" dt="2020-11-06T17:25:38.189" v="2818"/>
        <pc:sldMkLst>
          <pc:docMk/>
          <pc:sldMk cId="1884594512" sldId="1517"/>
        </pc:sldMkLst>
      </pc:sldChg>
      <pc:sldChg chg="modSp mod">
        <pc:chgData name="Michael Bailit" userId="6e5c4604-85bf-41ef-8e97-4724b7d56589" providerId="ADAL" clId="{971DF829-B671-4100-8D40-F9172BC668D3}" dt="2020-11-06T17:24:30.789" v="2813" actId="207"/>
        <pc:sldMkLst>
          <pc:docMk/>
          <pc:sldMk cId="3650825949" sldId="1518"/>
        </pc:sldMkLst>
        <pc:spChg chg="mod">
          <ac:chgData name="Michael Bailit" userId="6e5c4604-85bf-41ef-8e97-4724b7d56589" providerId="ADAL" clId="{971DF829-B671-4100-8D40-F9172BC668D3}" dt="2020-11-06T17:23:58.527" v="2810" actId="14100"/>
          <ac:spMkLst>
            <pc:docMk/>
            <pc:sldMk cId="3650825949" sldId="1518"/>
            <ac:spMk id="3" creationId="{0D6DBD72-B605-4FBF-AF36-16C0EE1ADF9C}"/>
          </ac:spMkLst>
        </pc:spChg>
        <pc:spChg chg="mod">
          <ac:chgData name="Michael Bailit" userId="6e5c4604-85bf-41ef-8e97-4724b7d56589" providerId="ADAL" clId="{971DF829-B671-4100-8D40-F9172BC668D3}" dt="2020-11-06T17:24:30.789" v="2813" actId="207"/>
          <ac:spMkLst>
            <pc:docMk/>
            <pc:sldMk cId="3650825949" sldId="1518"/>
            <ac:spMk id="4" creationId="{624A395E-4E90-44B1-99C3-6F17803558C1}"/>
          </ac:spMkLst>
        </pc:spChg>
      </pc:sldChg>
      <pc:sldChg chg="modSp mod">
        <pc:chgData name="Michael Bailit" userId="6e5c4604-85bf-41ef-8e97-4724b7d56589" providerId="ADAL" clId="{971DF829-B671-4100-8D40-F9172BC668D3}" dt="2020-11-06T17:29:11.758" v="2979" actId="20577"/>
        <pc:sldMkLst>
          <pc:docMk/>
          <pc:sldMk cId="433791631" sldId="1519"/>
        </pc:sldMkLst>
        <pc:spChg chg="mod">
          <ac:chgData name="Michael Bailit" userId="6e5c4604-85bf-41ef-8e97-4724b7d56589" providerId="ADAL" clId="{971DF829-B671-4100-8D40-F9172BC668D3}" dt="2020-11-06T17:29:11.758" v="2979" actId="20577"/>
          <ac:spMkLst>
            <pc:docMk/>
            <pc:sldMk cId="433791631" sldId="1519"/>
            <ac:spMk id="5" creationId="{8186EFC7-2552-45D6-80A9-E8995C58C0DF}"/>
          </ac:spMkLst>
        </pc:spChg>
      </pc:sldChg>
      <pc:sldChg chg="delSp modSp mod">
        <pc:chgData name="Michael Bailit" userId="6e5c4604-85bf-41ef-8e97-4724b7d56589" providerId="ADAL" clId="{971DF829-B671-4100-8D40-F9172BC668D3}" dt="2020-11-06T17:31:03.345" v="2993" actId="21"/>
        <pc:sldMkLst>
          <pc:docMk/>
          <pc:sldMk cId="913840089" sldId="1520"/>
        </pc:sldMkLst>
        <pc:spChg chg="mod">
          <ac:chgData name="Michael Bailit" userId="6e5c4604-85bf-41ef-8e97-4724b7d56589" providerId="ADAL" clId="{971DF829-B671-4100-8D40-F9172BC668D3}" dt="2020-11-06T17:30:51.425" v="2991" actId="11"/>
          <ac:spMkLst>
            <pc:docMk/>
            <pc:sldMk cId="913840089" sldId="1520"/>
            <ac:spMk id="3" creationId="{F122E5D3-5428-4FD0-BEE7-843B9B49CC20}"/>
          </ac:spMkLst>
        </pc:spChg>
        <pc:spChg chg="del mod">
          <ac:chgData name="Michael Bailit" userId="6e5c4604-85bf-41ef-8e97-4724b7d56589" providerId="ADAL" clId="{971DF829-B671-4100-8D40-F9172BC668D3}" dt="2020-11-06T17:31:03.345" v="2993" actId="21"/>
          <ac:spMkLst>
            <pc:docMk/>
            <pc:sldMk cId="913840089" sldId="1520"/>
            <ac:spMk id="4" creationId="{E9650F29-3829-42EF-AE85-2FB692F287FB}"/>
          </ac:spMkLst>
        </pc:spChg>
      </pc:sldChg>
    </pc:docChg>
  </pc:docChgLst>
  <pc:docChgLst>
    <pc:chgData name="Justine Zayhowski" userId="2377d393-ab0f-4e66-8672-ed1beebcd407" providerId="ADAL" clId="{BF7C2B6A-CF86-41AF-93E7-6E90B7779B8F}"/>
    <pc:docChg chg="undo custSel addSld delSld modSld sldOrd delMainMaster">
      <pc:chgData name="Justine Zayhowski" userId="2377d393-ab0f-4e66-8672-ed1beebcd407" providerId="ADAL" clId="{BF7C2B6A-CF86-41AF-93E7-6E90B7779B8F}" dt="2020-11-20T16:48:09.496" v="19299" actId="1036"/>
      <pc:docMkLst>
        <pc:docMk/>
      </pc:docMkLst>
      <pc:sldChg chg="del">
        <pc:chgData name="Justine Zayhowski" userId="2377d393-ab0f-4e66-8672-ed1beebcd407" providerId="ADAL" clId="{BF7C2B6A-CF86-41AF-93E7-6E90B7779B8F}" dt="2020-10-27T13:39:04.914" v="228" actId="47"/>
        <pc:sldMkLst>
          <pc:docMk/>
          <pc:sldMk cId="0" sldId="256"/>
        </pc:sldMkLst>
      </pc:sldChg>
      <pc:sldChg chg="del">
        <pc:chgData name="Justine Zayhowski" userId="2377d393-ab0f-4e66-8672-ed1beebcd407" providerId="ADAL" clId="{BF7C2B6A-CF86-41AF-93E7-6E90B7779B8F}" dt="2020-10-27T13:39:08.006" v="237" actId="47"/>
        <pc:sldMkLst>
          <pc:docMk/>
          <pc:sldMk cId="1658123080" sldId="257"/>
        </pc:sldMkLst>
      </pc:sldChg>
      <pc:sldChg chg="del">
        <pc:chgData name="Justine Zayhowski" userId="2377d393-ab0f-4e66-8672-ed1beebcd407" providerId="ADAL" clId="{BF7C2B6A-CF86-41AF-93E7-6E90B7779B8F}" dt="2020-10-27T13:39:05.886" v="231" actId="47"/>
        <pc:sldMkLst>
          <pc:docMk/>
          <pc:sldMk cId="1615608164" sldId="422"/>
        </pc:sldMkLst>
      </pc:sldChg>
      <pc:sldChg chg="del">
        <pc:chgData name="Justine Zayhowski" userId="2377d393-ab0f-4e66-8672-ed1beebcd407" providerId="ADAL" clId="{BF7C2B6A-CF86-41AF-93E7-6E90B7779B8F}" dt="2020-10-27T13:39:06.757" v="234" actId="47"/>
        <pc:sldMkLst>
          <pc:docMk/>
          <pc:sldMk cId="2142930062" sldId="425"/>
        </pc:sldMkLst>
      </pc:sldChg>
      <pc:sldChg chg="del">
        <pc:chgData name="Justine Zayhowski" userId="2377d393-ab0f-4e66-8672-ed1beebcd407" providerId="ADAL" clId="{BF7C2B6A-CF86-41AF-93E7-6E90B7779B8F}" dt="2020-10-27T13:39:05.584" v="230" actId="47"/>
        <pc:sldMkLst>
          <pc:docMk/>
          <pc:sldMk cId="4158034953" sldId="426"/>
        </pc:sldMkLst>
      </pc:sldChg>
      <pc:sldChg chg="del">
        <pc:chgData name="Justine Zayhowski" userId="2377d393-ab0f-4e66-8672-ed1beebcd407" providerId="ADAL" clId="{BF7C2B6A-CF86-41AF-93E7-6E90B7779B8F}" dt="2020-10-27T13:39:06.139" v="232" actId="47"/>
        <pc:sldMkLst>
          <pc:docMk/>
          <pc:sldMk cId="3628625067" sldId="427"/>
        </pc:sldMkLst>
      </pc:sldChg>
      <pc:sldChg chg="del">
        <pc:chgData name="Justine Zayhowski" userId="2377d393-ab0f-4e66-8672-ed1beebcd407" providerId="ADAL" clId="{BF7C2B6A-CF86-41AF-93E7-6E90B7779B8F}" dt="2020-10-27T13:39:06.440" v="233" actId="47"/>
        <pc:sldMkLst>
          <pc:docMk/>
          <pc:sldMk cId="4208692381" sldId="428"/>
        </pc:sldMkLst>
      </pc:sldChg>
      <pc:sldChg chg="del">
        <pc:chgData name="Justine Zayhowski" userId="2377d393-ab0f-4e66-8672-ed1beebcd407" providerId="ADAL" clId="{BF7C2B6A-CF86-41AF-93E7-6E90B7779B8F}" dt="2020-10-27T13:39:05.268" v="229" actId="47"/>
        <pc:sldMkLst>
          <pc:docMk/>
          <pc:sldMk cId="2939777314" sldId="429"/>
        </pc:sldMkLst>
      </pc:sldChg>
      <pc:sldChg chg="addSp delSp modSp mod">
        <pc:chgData name="Justine Zayhowski" userId="2377d393-ab0f-4e66-8672-ed1beebcd407" providerId="ADAL" clId="{BF7C2B6A-CF86-41AF-93E7-6E90B7779B8F}" dt="2020-10-30T17:27:38.525" v="5643" actId="478"/>
        <pc:sldMkLst>
          <pc:docMk/>
          <pc:sldMk cId="1210250860" sldId="483"/>
        </pc:sldMkLst>
        <pc:spChg chg="mod">
          <ac:chgData name="Justine Zayhowski" userId="2377d393-ab0f-4e66-8672-ed1beebcd407" providerId="ADAL" clId="{BF7C2B6A-CF86-41AF-93E7-6E90B7779B8F}" dt="2020-10-27T13:36:22.347" v="116" actId="20577"/>
          <ac:spMkLst>
            <pc:docMk/>
            <pc:sldMk cId="1210250860" sldId="483"/>
            <ac:spMk id="3" creationId="{00000000-0000-0000-0000-000000000000}"/>
          </ac:spMkLst>
        </pc:spChg>
        <pc:spChg chg="add del mod">
          <ac:chgData name="Justine Zayhowski" userId="2377d393-ab0f-4e66-8672-ed1beebcd407" providerId="ADAL" clId="{BF7C2B6A-CF86-41AF-93E7-6E90B7779B8F}" dt="2020-10-30T17:27:38.525" v="5643" actId="478"/>
          <ac:spMkLst>
            <pc:docMk/>
            <pc:sldMk cId="1210250860" sldId="483"/>
            <ac:spMk id="4" creationId="{06C10786-42B6-4590-BD35-30F8361B98C8}"/>
          </ac:spMkLst>
        </pc:spChg>
        <pc:spChg chg="add del mod">
          <ac:chgData name="Justine Zayhowski" userId="2377d393-ab0f-4e66-8672-ed1beebcd407" providerId="ADAL" clId="{BF7C2B6A-CF86-41AF-93E7-6E90B7779B8F}" dt="2020-10-29T20:52:27.641" v="895" actId="478"/>
          <ac:spMkLst>
            <pc:docMk/>
            <pc:sldMk cId="1210250860" sldId="483"/>
            <ac:spMk id="4" creationId="{8542863F-3AC8-4F71-80FB-ACE5456C1E9C}"/>
          </ac:spMkLst>
        </pc:spChg>
      </pc:sldChg>
      <pc:sldChg chg="addSp modSp add mod delCm">
        <pc:chgData name="Justine Zayhowski" userId="2377d393-ab0f-4e66-8672-ed1beebcd407" providerId="ADAL" clId="{BF7C2B6A-CF86-41AF-93E7-6E90B7779B8F}" dt="2020-11-06T15:06:21.176" v="15396" actId="1592"/>
        <pc:sldMkLst>
          <pc:docMk/>
          <pc:sldMk cId="3830109214" sldId="1265"/>
        </pc:sldMkLst>
        <pc:spChg chg="mod">
          <ac:chgData name="Justine Zayhowski" userId="2377d393-ab0f-4e66-8672-ed1beebcd407" providerId="ADAL" clId="{BF7C2B6A-CF86-41AF-93E7-6E90B7779B8F}" dt="2020-10-29T21:26:30.706" v="3472" actId="20577"/>
          <ac:spMkLst>
            <pc:docMk/>
            <pc:sldMk cId="3830109214" sldId="1265"/>
            <ac:spMk id="2" creationId="{5B109C13-2ACC-4015-AF58-3A819B01A2EA}"/>
          </ac:spMkLst>
        </pc:spChg>
        <pc:spChg chg="mod">
          <ac:chgData name="Justine Zayhowski" userId="2377d393-ab0f-4e66-8672-ed1beebcd407" providerId="ADAL" clId="{BF7C2B6A-CF86-41AF-93E7-6E90B7779B8F}" dt="2020-11-03T19:27:43.916" v="14967" actId="20577"/>
          <ac:spMkLst>
            <pc:docMk/>
            <pc:sldMk cId="3830109214" sldId="1265"/>
            <ac:spMk id="3" creationId="{8BBE5596-3756-40D5-A8E5-AB4F6AD61112}"/>
          </ac:spMkLst>
        </pc:spChg>
        <pc:spChg chg="add mod">
          <ac:chgData name="Justine Zayhowski" userId="2377d393-ab0f-4e66-8672-ed1beebcd407" providerId="ADAL" clId="{BF7C2B6A-CF86-41AF-93E7-6E90B7779B8F}" dt="2020-11-03T19:28:31.195" v="15035" actId="20577"/>
          <ac:spMkLst>
            <pc:docMk/>
            <pc:sldMk cId="3830109214" sldId="1265"/>
            <ac:spMk id="4" creationId="{6C21F49C-6255-4E02-B6BD-3AAF954A86E8}"/>
          </ac:spMkLst>
        </pc:spChg>
      </pc:sldChg>
      <pc:sldChg chg="modSp mod">
        <pc:chgData name="Justine Zayhowski" userId="2377d393-ab0f-4e66-8672-ed1beebcd407" providerId="ADAL" clId="{BF7C2B6A-CF86-41AF-93E7-6E90B7779B8F}" dt="2020-10-30T17:22:58.927" v="5416" actId="255"/>
        <pc:sldMkLst>
          <pc:docMk/>
          <pc:sldMk cId="3123438988" sldId="1429"/>
        </pc:sldMkLst>
        <pc:spChg chg="mod">
          <ac:chgData name="Justine Zayhowski" userId="2377d393-ab0f-4e66-8672-ed1beebcd407" providerId="ADAL" clId="{BF7C2B6A-CF86-41AF-93E7-6E90B7779B8F}" dt="2020-10-30T17:22:58.927" v="5416" actId="255"/>
          <ac:spMkLst>
            <pc:docMk/>
            <pc:sldMk cId="3123438988" sldId="1429"/>
            <ac:spMk id="3" creationId="{8E396B14-F9D7-4ACC-AED3-6E88E76396F5}"/>
          </ac:spMkLst>
        </pc:spChg>
      </pc:sldChg>
      <pc:sldChg chg="modSp mod delCm">
        <pc:chgData name="Justine Zayhowski" userId="2377d393-ab0f-4e66-8672-ed1beebcd407" providerId="ADAL" clId="{BF7C2B6A-CF86-41AF-93E7-6E90B7779B8F}" dt="2020-11-16T15:45:04.428" v="18794" actId="20577"/>
        <pc:sldMkLst>
          <pc:docMk/>
          <pc:sldMk cId="994760883" sldId="1439"/>
        </pc:sldMkLst>
        <pc:spChg chg="mod">
          <ac:chgData name="Justine Zayhowski" userId="2377d393-ab0f-4e66-8672-ed1beebcd407" providerId="ADAL" clId="{BF7C2B6A-CF86-41AF-93E7-6E90B7779B8F}" dt="2020-11-16T15:45:04.428" v="18794" actId="20577"/>
          <ac:spMkLst>
            <pc:docMk/>
            <pc:sldMk cId="994760883" sldId="1439"/>
            <ac:spMk id="2" creationId="{3C0D77C2-F836-4F58-809A-223B58877900}"/>
          </ac:spMkLst>
        </pc:spChg>
        <pc:spChg chg="mod">
          <ac:chgData name="Justine Zayhowski" userId="2377d393-ab0f-4e66-8672-ed1beebcd407" providerId="ADAL" clId="{BF7C2B6A-CF86-41AF-93E7-6E90B7779B8F}" dt="2020-11-16T15:45:01.677" v="18784" actId="12"/>
          <ac:spMkLst>
            <pc:docMk/>
            <pc:sldMk cId="994760883" sldId="1439"/>
            <ac:spMk id="3" creationId="{23982B12-54F3-4BA6-BB25-2E0F88B305AC}"/>
          </ac:spMkLst>
        </pc:spChg>
      </pc:sldChg>
      <pc:sldChg chg="del">
        <pc:chgData name="Justine Zayhowski" userId="2377d393-ab0f-4e66-8672-ed1beebcd407" providerId="ADAL" clId="{BF7C2B6A-CF86-41AF-93E7-6E90B7779B8F}" dt="2020-10-27T13:39:03.512" v="225" actId="47"/>
        <pc:sldMkLst>
          <pc:docMk/>
          <pc:sldMk cId="2392027613" sldId="1441"/>
        </pc:sldMkLst>
      </pc:sldChg>
      <pc:sldChg chg="del">
        <pc:chgData name="Justine Zayhowski" userId="2377d393-ab0f-4e66-8672-ed1beebcd407" providerId="ADAL" clId="{BF7C2B6A-CF86-41AF-93E7-6E90B7779B8F}" dt="2020-10-27T13:39:04.487" v="227" actId="47"/>
        <pc:sldMkLst>
          <pc:docMk/>
          <pc:sldMk cId="3565507316" sldId="1443"/>
        </pc:sldMkLst>
      </pc:sldChg>
      <pc:sldChg chg="del">
        <pc:chgData name="Justine Zayhowski" userId="2377d393-ab0f-4e66-8672-ed1beebcd407" providerId="ADAL" clId="{BF7C2B6A-CF86-41AF-93E7-6E90B7779B8F}" dt="2020-10-27T13:39:22.046" v="247" actId="47"/>
        <pc:sldMkLst>
          <pc:docMk/>
          <pc:sldMk cId="2344168126" sldId="1449"/>
        </pc:sldMkLst>
      </pc:sldChg>
      <pc:sldChg chg="del">
        <pc:chgData name="Justine Zayhowski" userId="2377d393-ab0f-4e66-8672-ed1beebcd407" providerId="ADAL" clId="{BF7C2B6A-CF86-41AF-93E7-6E90B7779B8F}" dt="2020-10-27T13:39:23.006" v="248" actId="47"/>
        <pc:sldMkLst>
          <pc:docMk/>
          <pc:sldMk cId="3307479488" sldId="1450"/>
        </pc:sldMkLst>
      </pc:sldChg>
      <pc:sldChg chg="modSp addCm modCm">
        <pc:chgData name="Justine Zayhowski" userId="2377d393-ab0f-4e66-8672-ed1beebcd407" providerId="ADAL" clId="{BF7C2B6A-CF86-41AF-93E7-6E90B7779B8F}" dt="2020-11-06T14:56:04.670" v="15185" actId="20577"/>
        <pc:sldMkLst>
          <pc:docMk/>
          <pc:sldMk cId="2289856384" sldId="1458"/>
        </pc:sldMkLst>
        <pc:spChg chg="mod">
          <ac:chgData name="Justine Zayhowski" userId="2377d393-ab0f-4e66-8672-ed1beebcd407" providerId="ADAL" clId="{BF7C2B6A-CF86-41AF-93E7-6E90B7779B8F}" dt="2020-11-06T14:56:04.670" v="15185" actId="20577"/>
          <ac:spMkLst>
            <pc:docMk/>
            <pc:sldMk cId="2289856384" sldId="1458"/>
            <ac:spMk id="3" creationId="{3DDF3C43-1B02-4850-9B9B-07DB523DC5AA}"/>
          </ac:spMkLst>
        </pc:spChg>
      </pc:sldChg>
      <pc:sldChg chg="del">
        <pc:chgData name="Justine Zayhowski" userId="2377d393-ab0f-4e66-8672-ed1beebcd407" providerId="ADAL" clId="{BF7C2B6A-CF86-41AF-93E7-6E90B7779B8F}" dt="2020-10-27T13:39:10.699" v="240" actId="47"/>
        <pc:sldMkLst>
          <pc:docMk/>
          <pc:sldMk cId="4199112081" sldId="1461"/>
        </pc:sldMkLst>
      </pc:sldChg>
      <pc:sldChg chg="del">
        <pc:chgData name="Justine Zayhowski" userId="2377d393-ab0f-4e66-8672-ed1beebcd407" providerId="ADAL" clId="{BF7C2B6A-CF86-41AF-93E7-6E90B7779B8F}" dt="2020-10-27T13:39:01.872" v="223" actId="47"/>
        <pc:sldMkLst>
          <pc:docMk/>
          <pc:sldMk cId="2773202910" sldId="1462"/>
        </pc:sldMkLst>
      </pc:sldChg>
      <pc:sldChg chg="del">
        <pc:chgData name="Justine Zayhowski" userId="2377d393-ab0f-4e66-8672-ed1beebcd407" providerId="ADAL" clId="{BF7C2B6A-CF86-41AF-93E7-6E90B7779B8F}" dt="2020-10-27T13:39:11.355" v="241" actId="47"/>
        <pc:sldMkLst>
          <pc:docMk/>
          <pc:sldMk cId="1632732534" sldId="1464"/>
        </pc:sldMkLst>
      </pc:sldChg>
      <pc:sldChg chg="del">
        <pc:chgData name="Justine Zayhowski" userId="2377d393-ab0f-4e66-8672-ed1beebcd407" providerId="ADAL" clId="{BF7C2B6A-CF86-41AF-93E7-6E90B7779B8F}" dt="2020-10-27T13:39:12.071" v="242" actId="47"/>
        <pc:sldMkLst>
          <pc:docMk/>
          <pc:sldMk cId="3625467592" sldId="1465"/>
        </pc:sldMkLst>
      </pc:sldChg>
      <pc:sldChg chg="del">
        <pc:chgData name="Justine Zayhowski" userId="2377d393-ab0f-4e66-8672-ed1beebcd407" providerId="ADAL" clId="{BF7C2B6A-CF86-41AF-93E7-6E90B7779B8F}" dt="2020-10-27T13:39:13.457" v="243" actId="47"/>
        <pc:sldMkLst>
          <pc:docMk/>
          <pc:sldMk cId="123375225" sldId="1466"/>
        </pc:sldMkLst>
      </pc:sldChg>
      <pc:sldChg chg="del">
        <pc:chgData name="Justine Zayhowski" userId="2377d393-ab0f-4e66-8672-ed1beebcd407" providerId="ADAL" clId="{BF7C2B6A-CF86-41AF-93E7-6E90B7779B8F}" dt="2020-10-27T13:39:14.115" v="244" actId="47"/>
        <pc:sldMkLst>
          <pc:docMk/>
          <pc:sldMk cId="482500047" sldId="1467"/>
        </pc:sldMkLst>
      </pc:sldChg>
      <pc:sldChg chg="del">
        <pc:chgData name="Justine Zayhowski" userId="2377d393-ab0f-4e66-8672-ed1beebcd407" providerId="ADAL" clId="{BF7C2B6A-CF86-41AF-93E7-6E90B7779B8F}" dt="2020-10-27T13:39:14.779" v="245" actId="47"/>
        <pc:sldMkLst>
          <pc:docMk/>
          <pc:sldMk cId="2550850642" sldId="1468"/>
        </pc:sldMkLst>
      </pc:sldChg>
      <pc:sldChg chg="modSp mod addCm delCm modCm">
        <pc:chgData name="Justine Zayhowski" userId="2377d393-ab0f-4e66-8672-ed1beebcd407" providerId="ADAL" clId="{BF7C2B6A-CF86-41AF-93E7-6E90B7779B8F}" dt="2020-11-20T15:44:59.253" v="19296" actId="14734"/>
        <pc:sldMkLst>
          <pc:docMk/>
          <pc:sldMk cId="1231809821" sldId="1469"/>
        </pc:sldMkLst>
        <pc:spChg chg="mod">
          <ac:chgData name="Justine Zayhowski" userId="2377d393-ab0f-4e66-8672-ed1beebcd407" providerId="ADAL" clId="{BF7C2B6A-CF86-41AF-93E7-6E90B7779B8F}" dt="2020-10-29T21:10:03.638" v="2251" actId="20577"/>
          <ac:spMkLst>
            <pc:docMk/>
            <pc:sldMk cId="1231809821" sldId="1469"/>
            <ac:spMk id="3" creationId="{3DDF3C43-1B02-4850-9B9B-07DB523DC5AA}"/>
          </ac:spMkLst>
        </pc:spChg>
        <pc:graphicFrameChg chg="mod modGraphic">
          <ac:chgData name="Justine Zayhowski" userId="2377d393-ab0f-4e66-8672-ed1beebcd407" providerId="ADAL" clId="{BF7C2B6A-CF86-41AF-93E7-6E90B7779B8F}" dt="2020-11-20T15:44:59.253" v="19296" actId="14734"/>
          <ac:graphicFrameMkLst>
            <pc:docMk/>
            <pc:sldMk cId="1231809821" sldId="1469"/>
            <ac:graphicFrameMk id="4" creationId="{3A40D677-0DAD-40CC-91E9-65BA9D8CD34B}"/>
          </ac:graphicFrameMkLst>
        </pc:graphicFrameChg>
      </pc:sldChg>
      <pc:sldChg chg="modSp mod">
        <pc:chgData name="Justine Zayhowski" userId="2377d393-ab0f-4e66-8672-ed1beebcd407" providerId="ADAL" clId="{BF7C2B6A-CF86-41AF-93E7-6E90B7779B8F}" dt="2020-10-29T21:09:51.167" v="2249" actId="20577"/>
        <pc:sldMkLst>
          <pc:docMk/>
          <pc:sldMk cId="346840921" sldId="1470"/>
        </pc:sldMkLst>
        <pc:spChg chg="mod">
          <ac:chgData name="Justine Zayhowski" userId="2377d393-ab0f-4e66-8672-ed1beebcd407" providerId="ADAL" clId="{BF7C2B6A-CF86-41AF-93E7-6E90B7779B8F}" dt="2020-10-29T21:09:51.167" v="2249" actId="20577"/>
          <ac:spMkLst>
            <pc:docMk/>
            <pc:sldMk cId="346840921" sldId="1470"/>
            <ac:spMk id="3" creationId="{3DDF3C43-1B02-4850-9B9B-07DB523DC5AA}"/>
          </ac:spMkLst>
        </pc:spChg>
      </pc:sldChg>
      <pc:sldChg chg="modSp mod">
        <pc:chgData name="Justine Zayhowski" userId="2377d393-ab0f-4e66-8672-ed1beebcd407" providerId="ADAL" clId="{BF7C2B6A-CF86-41AF-93E7-6E90B7779B8F}" dt="2020-11-20T15:45:55.477" v="19298" actId="14734"/>
        <pc:sldMkLst>
          <pc:docMk/>
          <pc:sldMk cId="2741044330" sldId="1471"/>
        </pc:sldMkLst>
        <pc:spChg chg="mod">
          <ac:chgData name="Justine Zayhowski" userId="2377d393-ab0f-4e66-8672-ed1beebcd407" providerId="ADAL" clId="{BF7C2B6A-CF86-41AF-93E7-6E90B7779B8F}" dt="2020-10-29T21:09:58.510" v="2250" actId="20577"/>
          <ac:spMkLst>
            <pc:docMk/>
            <pc:sldMk cId="2741044330" sldId="1471"/>
            <ac:spMk id="3" creationId="{3DDF3C43-1B02-4850-9B9B-07DB523DC5AA}"/>
          </ac:spMkLst>
        </pc:spChg>
        <pc:graphicFrameChg chg="modGraphic">
          <ac:chgData name="Justine Zayhowski" userId="2377d393-ab0f-4e66-8672-ed1beebcd407" providerId="ADAL" clId="{BF7C2B6A-CF86-41AF-93E7-6E90B7779B8F}" dt="2020-11-20T15:45:55.477" v="19298" actId="14734"/>
          <ac:graphicFrameMkLst>
            <pc:docMk/>
            <pc:sldMk cId="2741044330" sldId="1471"/>
            <ac:graphicFrameMk id="4" creationId="{3A40D677-0DAD-40CC-91E9-65BA9D8CD34B}"/>
          </ac:graphicFrameMkLst>
        </pc:graphicFrameChg>
      </pc:sldChg>
      <pc:sldChg chg="modSp add del mod">
        <pc:chgData name="Justine Zayhowski" userId="2377d393-ab0f-4e66-8672-ed1beebcd407" providerId="ADAL" clId="{BF7C2B6A-CF86-41AF-93E7-6E90B7779B8F}" dt="2020-10-29T20:47:51.612" v="714" actId="47"/>
        <pc:sldMkLst>
          <pc:docMk/>
          <pc:sldMk cId="295022981" sldId="1472"/>
        </pc:sldMkLst>
        <pc:spChg chg="mod">
          <ac:chgData name="Justine Zayhowski" userId="2377d393-ab0f-4e66-8672-ed1beebcd407" providerId="ADAL" clId="{BF7C2B6A-CF86-41AF-93E7-6E90B7779B8F}" dt="2020-10-27T13:51:57.922" v="506" actId="20577"/>
          <ac:spMkLst>
            <pc:docMk/>
            <pc:sldMk cId="295022981" sldId="1472"/>
            <ac:spMk id="3" creationId="{8E396B14-F9D7-4ACC-AED3-6E88E76396F5}"/>
          </ac:spMkLst>
        </pc:spChg>
        <pc:spChg chg="mod">
          <ac:chgData name="Justine Zayhowski" userId="2377d393-ab0f-4e66-8672-ed1beebcd407" providerId="ADAL" clId="{BF7C2B6A-CF86-41AF-93E7-6E90B7779B8F}" dt="2020-10-27T13:39:52.102" v="307" actId="1036"/>
          <ac:spMkLst>
            <pc:docMk/>
            <pc:sldMk cId="295022981" sldId="1472"/>
            <ac:spMk id="5" creationId="{D3915D3D-656E-48AA-8D63-358A7E5AA453}"/>
          </ac:spMkLst>
        </pc:spChg>
      </pc:sldChg>
      <pc:sldChg chg="modSp add del mod">
        <pc:chgData name="Justine Zayhowski" userId="2377d393-ab0f-4e66-8672-ed1beebcd407" providerId="ADAL" clId="{BF7C2B6A-CF86-41AF-93E7-6E90B7779B8F}" dt="2020-10-27T13:39:47.096" v="293" actId="47"/>
        <pc:sldMkLst>
          <pc:docMk/>
          <pc:sldMk cId="2230645719" sldId="1472"/>
        </pc:sldMkLst>
        <pc:spChg chg="mod">
          <ac:chgData name="Justine Zayhowski" userId="2377d393-ab0f-4e66-8672-ed1beebcd407" providerId="ADAL" clId="{BF7C2B6A-CF86-41AF-93E7-6E90B7779B8F}" dt="2020-10-27T13:39:32.629" v="278" actId="1035"/>
          <ac:spMkLst>
            <pc:docMk/>
            <pc:sldMk cId="2230645719" sldId="1472"/>
            <ac:spMk id="5" creationId="{D3915D3D-656E-48AA-8D63-358A7E5AA453}"/>
          </ac:spMkLst>
        </pc:spChg>
      </pc:sldChg>
      <pc:sldChg chg="del">
        <pc:chgData name="Justine Zayhowski" userId="2377d393-ab0f-4e66-8672-ed1beebcd407" providerId="ADAL" clId="{BF7C2B6A-CF86-41AF-93E7-6E90B7779B8F}" dt="2020-10-27T13:39:07.529" v="236" actId="47"/>
        <pc:sldMkLst>
          <pc:docMk/>
          <pc:sldMk cId="4069700471" sldId="1472"/>
        </pc:sldMkLst>
      </pc:sldChg>
      <pc:sldChg chg="modSp add del mod">
        <pc:chgData name="Justine Zayhowski" userId="2377d393-ab0f-4e66-8672-ed1beebcd407" providerId="ADAL" clId="{BF7C2B6A-CF86-41AF-93E7-6E90B7779B8F}" dt="2020-10-29T20:48:06.405" v="757" actId="47"/>
        <pc:sldMkLst>
          <pc:docMk/>
          <pc:sldMk cId="2829209468" sldId="1473"/>
        </pc:sldMkLst>
        <pc:spChg chg="mod">
          <ac:chgData name="Justine Zayhowski" userId="2377d393-ab0f-4e66-8672-ed1beebcd407" providerId="ADAL" clId="{BF7C2B6A-CF86-41AF-93E7-6E90B7779B8F}" dt="2020-10-27T13:51:54.649" v="504" actId="20577"/>
          <ac:spMkLst>
            <pc:docMk/>
            <pc:sldMk cId="2829209468" sldId="1473"/>
            <ac:spMk id="3" creationId="{8E396B14-F9D7-4ACC-AED3-6E88E76396F5}"/>
          </ac:spMkLst>
        </pc:spChg>
        <pc:spChg chg="mod">
          <ac:chgData name="Justine Zayhowski" userId="2377d393-ab0f-4e66-8672-ed1beebcd407" providerId="ADAL" clId="{BF7C2B6A-CF86-41AF-93E7-6E90B7779B8F}" dt="2020-10-27T13:40:00.264" v="330" actId="1036"/>
          <ac:spMkLst>
            <pc:docMk/>
            <pc:sldMk cId="2829209468" sldId="1473"/>
            <ac:spMk id="5" creationId="{D3915D3D-656E-48AA-8D63-358A7E5AA453}"/>
          </ac:spMkLst>
        </pc:spChg>
      </pc:sldChg>
      <pc:sldChg chg="modSp add del mod">
        <pc:chgData name="Justine Zayhowski" userId="2377d393-ab0f-4e66-8672-ed1beebcd407" providerId="ADAL" clId="{BF7C2B6A-CF86-41AF-93E7-6E90B7779B8F}" dt="2020-10-29T20:48:14.208" v="759" actId="47"/>
        <pc:sldMkLst>
          <pc:docMk/>
          <pc:sldMk cId="4123758358" sldId="1474"/>
        </pc:sldMkLst>
        <pc:spChg chg="mod">
          <ac:chgData name="Justine Zayhowski" userId="2377d393-ab0f-4e66-8672-ed1beebcd407" providerId="ADAL" clId="{BF7C2B6A-CF86-41AF-93E7-6E90B7779B8F}" dt="2020-10-27T13:51:47.994" v="500" actId="20577"/>
          <ac:spMkLst>
            <pc:docMk/>
            <pc:sldMk cId="4123758358" sldId="1474"/>
            <ac:spMk id="3" creationId="{8E396B14-F9D7-4ACC-AED3-6E88E76396F5}"/>
          </ac:spMkLst>
        </pc:spChg>
        <pc:spChg chg="mod">
          <ac:chgData name="Justine Zayhowski" userId="2377d393-ab0f-4e66-8672-ed1beebcd407" providerId="ADAL" clId="{BF7C2B6A-CF86-41AF-93E7-6E90B7779B8F}" dt="2020-10-27T13:40:12.384" v="352" actId="1035"/>
          <ac:spMkLst>
            <pc:docMk/>
            <pc:sldMk cId="4123758358" sldId="1474"/>
            <ac:spMk id="5" creationId="{D3915D3D-656E-48AA-8D63-358A7E5AA453}"/>
          </ac:spMkLst>
        </pc:spChg>
      </pc:sldChg>
      <pc:sldChg chg="modSp add del mod">
        <pc:chgData name="Justine Zayhowski" userId="2377d393-ab0f-4e66-8672-ed1beebcd407" providerId="ADAL" clId="{BF7C2B6A-CF86-41AF-93E7-6E90B7779B8F}" dt="2020-10-29T20:48:15.476" v="760" actId="47"/>
        <pc:sldMkLst>
          <pc:docMk/>
          <pc:sldMk cId="588097044" sldId="1475"/>
        </pc:sldMkLst>
        <pc:spChg chg="mod">
          <ac:chgData name="Justine Zayhowski" userId="2377d393-ab0f-4e66-8672-ed1beebcd407" providerId="ADAL" clId="{BF7C2B6A-CF86-41AF-93E7-6E90B7779B8F}" dt="2020-10-27T13:51:42.855" v="498" actId="20577"/>
          <ac:spMkLst>
            <pc:docMk/>
            <pc:sldMk cId="588097044" sldId="1475"/>
            <ac:spMk id="3" creationId="{8E396B14-F9D7-4ACC-AED3-6E88E76396F5}"/>
          </ac:spMkLst>
        </pc:spChg>
        <pc:spChg chg="mod">
          <ac:chgData name="Justine Zayhowski" userId="2377d393-ab0f-4e66-8672-ed1beebcd407" providerId="ADAL" clId="{BF7C2B6A-CF86-41AF-93E7-6E90B7779B8F}" dt="2020-10-27T13:40:20.705" v="378" actId="14100"/>
          <ac:spMkLst>
            <pc:docMk/>
            <pc:sldMk cId="588097044" sldId="1475"/>
            <ac:spMk id="5" creationId="{D3915D3D-656E-48AA-8D63-358A7E5AA453}"/>
          </ac:spMkLst>
        </pc:spChg>
      </pc:sldChg>
      <pc:sldChg chg="modSp new del mod ord">
        <pc:chgData name="Justine Zayhowski" userId="2377d393-ab0f-4e66-8672-ed1beebcd407" providerId="ADAL" clId="{BF7C2B6A-CF86-41AF-93E7-6E90B7779B8F}" dt="2020-10-30T17:23:32.316" v="5418" actId="47"/>
        <pc:sldMkLst>
          <pc:docMk/>
          <pc:sldMk cId="2490298006" sldId="1476"/>
        </pc:sldMkLst>
        <pc:spChg chg="mod">
          <ac:chgData name="Justine Zayhowski" userId="2377d393-ab0f-4e66-8672-ed1beebcd407" providerId="ADAL" clId="{BF7C2B6A-CF86-41AF-93E7-6E90B7779B8F}" dt="2020-10-29T21:11:25.718" v="2359" actId="20577"/>
          <ac:spMkLst>
            <pc:docMk/>
            <pc:sldMk cId="2490298006" sldId="1476"/>
            <ac:spMk id="2" creationId="{14AB90CF-2735-42D1-9EEC-28140A4C4C4E}"/>
          </ac:spMkLst>
        </pc:spChg>
        <pc:spChg chg="mod">
          <ac:chgData name="Justine Zayhowski" userId="2377d393-ab0f-4e66-8672-ed1beebcd407" providerId="ADAL" clId="{BF7C2B6A-CF86-41AF-93E7-6E90B7779B8F}" dt="2020-10-29T21:11:27.269" v="2360" actId="20577"/>
          <ac:spMkLst>
            <pc:docMk/>
            <pc:sldMk cId="2490298006" sldId="1476"/>
            <ac:spMk id="3" creationId="{C8D2FD01-9F16-4BF0-90E4-085BBABE7EFB}"/>
          </ac:spMkLst>
        </pc:spChg>
      </pc:sldChg>
      <pc:sldChg chg="add del">
        <pc:chgData name="Justine Zayhowski" userId="2377d393-ab0f-4e66-8672-ed1beebcd407" providerId="ADAL" clId="{BF7C2B6A-CF86-41AF-93E7-6E90B7779B8F}" dt="2020-10-27T13:40:54.671" v="438"/>
        <pc:sldMkLst>
          <pc:docMk/>
          <pc:sldMk cId="1641031322" sldId="1477"/>
        </pc:sldMkLst>
      </pc:sldChg>
      <pc:sldChg chg="modSp new mod delCm">
        <pc:chgData name="Justine Zayhowski" userId="2377d393-ab0f-4e66-8672-ed1beebcd407" providerId="ADAL" clId="{BF7C2B6A-CF86-41AF-93E7-6E90B7779B8F}" dt="2020-11-06T14:54:36.702" v="15168" actId="1592"/>
        <pc:sldMkLst>
          <pc:docMk/>
          <pc:sldMk cId="3130701180" sldId="1477"/>
        </pc:sldMkLst>
        <pc:spChg chg="mod">
          <ac:chgData name="Justine Zayhowski" userId="2377d393-ab0f-4e66-8672-ed1beebcd407" providerId="ADAL" clId="{BF7C2B6A-CF86-41AF-93E7-6E90B7779B8F}" dt="2020-10-29T21:07:46.583" v="2193" actId="20577"/>
          <ac:spMkLst>
            <pc:docMk/>
            <pc:sldMk cId="3130701180" sldId="1477"/>
            <ac:spMk id="2" creationId="{E884CE18-EAA3-4DC4-9E6E-27FB963B1316}"/>
          </ac:spMkLst>
        </pc:spChg>
        <pc:spChg chg="mod">
          <ac:chgData name="Justine Zayhowski" userId="2377d393-ab0f-4e66-8672-ed1beebcd407" providerId="ADAL" clId="{BF7C2B6A-CF86-41AF-93E7-6E90B7779B8F}" dt="2020-10-29T20:54:57.369" v="1326" actId="13926"/>
          <ac:spMkLst>
            <pc:docMk/>
            <pc:sldMk cId="3130701180" sldId="1477"/>
            <ac:spMk id="3" creationId="{C1BCA869-A43A-401D-ADC1-170551BC7D38}"/>
          </ac:spMkLst>
        </pc:spChg>
      </pc:sldChg>
      <pc:sldChg chg="add del">
        <pc:chgData name="Justine Zayhowski" userId="2377d393-ab0f-4e66-8672-ed1beebcd407" providerId="ADAL" clId="{BF7C2B6A-CF86-41AF-93E7-6E90B7779B8F}" dt="2020-10-27T13:40:45.702" v="436"/>
        <pc:sldMkLst>
          <pc:docMk/>
          <pc:sldMk cId="3434918609" sldId="1477"/>
        </pc:sldMkLst>
      </pc:sldChg>
      <pc:sldChg chg="modSp add del mod">
        <pc:chgData name="Justine Zayhowski" userId="2377d393-ab0f-4e66-8672-ed1beebcd407" providerId="ADAL" clId="{BF7C2B6A-CF86-41AF-93E7-6E90B7779B8F}" dt="2020-10-29T20:48:40.629" v="822" actId="47"/>
        <pc:sldMkLst>
          <pc:docMk/>
          <pc:sldMk cId="1115806592" sldId="1478"/>
        </pc:sldMkLst>
        <pc:spChg chg="mod">
          <ac:chgData name="Justine Zayhowski" userId="2377d393-ab0f-4e66-8672-ed1beebcd407" providerId="ADAL" clId="{BF7C2B6A-CF86-41AF-93E7-6E90B7779B8F}" dt="2020-10-27T13:51:15.762" v="470" actId="20577"/>
          <ac:spMkLst>
            <pc:docMk/>
            <pc:sldMk cId="1115806592" sldId="1478"/>
            <ac:spMk id="3" creationId="{8E396B14-F9D7-4ACC-AED3-6E88E76396F5}"/>
          </ac:spMkLst>
        </pc:spChg>
        <pc:spChg chg="mod">
          <ac:chgData name="Justine Zayhowski" userId="2377d393-ab0f-4e66-8672-ed1beebcd407" providerId="ADAL" clId="{BF7C2B6A-CF86-41AF-93E7-6E90B7779B8F}" dt="2020-10-27T13:51:11.634" v="468" actId="14100"/>
          <ac:spMkLst>
            <pc:docMk/>
            <pc:sldMk cId="1115806592" sldId="1478"/>
            <ac:spMk id="5" creationId="{D3915D3D-656E-48AA-8D63-358A7E5AA453}"/>
          </ac:spMkLst>
        </pc:spChg>
      </pc:sldChg>
      <pc:sldChg chg="modSp add del mod ord">
        <pc:chgData name="Justine Zayhowski" userId="2377d393-ab0f-4e66-8672-ed1beebcd407" providerId="ADAL" clId="{BF7C2B6A-CF86-41AF-93E7-6E90B7779B8F}" dt="2020-10-29T20:49:18.704" v="877" actId="47"/>
        <pc:sldMkLst>
          <pc:docMk/>
          <pc:sldMk cId="3074167836" sldId="1479"/>
        </pc:sldMkLst>
        <pc:spChg chg="mod">
          <ac:chgData name="Justine Zayhowski" userId="2377d393-ab0f-4e66-8672-ed1beebcd407" providerId="ADAL" clId="{BF7C2B6A-CF86-41AF-93E7-6E90B7779B8F}" dt="2020-10-27T13:51:39.574" v="496" actId="1036"/>
          <ac:spMkLst>
            <pc:docMk/>
            <pc:sldMk cId="3074167836" sldId="1479"/>
            <ac:spMk id="5" creationId="{D3915D3D-656E-48AA-8D63-358A7E5AA453}"/>
          </ac:spMkLst>
        </pc:spChg>
      </pc:sldChg>
      <pc:sldChg chg="modSp mod addCm modCm">
        <pc:chgData name="Justine Zayhowski" userId="2377d393-ab0f-4e66-8672-ed1beebcd407" providerId="ADAL" clId="{BF7C2B6A-CF86-41AF-93E7-6E90B7779B8F}" dt="2020-11-06T15:58:46.090" v="15757"/>
        <pc:sldMkLst>
          <pc:docMk/>
          <pc:sldMk cId="883325208" sldId="1480"/>
        </pc:sldMkLst>
        <pc:spChg chg="mod">
          <ac:chgData name="Justine Zayhowski" userId="2377d393-ab0f-4e66-8672-ed1beebcd407" providerId="ADAL" clId="{BF7C2B6A-CF86-41AF-93E7-6E90B7779B8F}" dt="2020-10-29T20:48:44.733" v="832" actId="20577"/>
          <ac:spMkLst>
            <pc:docMk/>
            <pc:sldMk cId="883325208" sldId="1480"/>
            <ac:spMk id="2" creationId="{E3BA0A91-8B41-48FE-A4A4-CA9D55288692}"/>
          </ac:spMkLst>
        </pc:spChg>
        <pc:spChg chg="mod">
          <ac:chgData name="Justine Zayhowski" userId="2377d393-ab0f-4e66-8672-ed1beebcd407" providerId="ADAL" clId="{BF7C2B6A-CF86-41AF-93E7-6E90B7779B8F}" dt="2020-11-06T15:11:46.069" v="15398" actId="20577"/>
          <ac:spMkLst>
            <pc:docMk/>
            <pc:sldMk cId="883325208" sldId="1480"/>
            <ac:spMk id="3" creationId="{3DDF3C43-1B02-4850-9B9B-07DB523DC5AA}"/>
          </ac:spMkLst>
        </pc:spChg>
        <pc:graphicFrameChg chg="mod modGraphic">
          <ac:chgData name="Justine Zayhowski" userId="2377d393-ab0f-4e66-8672-ed1beebcd407" providerId="ADAL" clId="{BF7C2B6A-CF86-41AF-93E7-6E90B7779B8F}" dt="2020-11-02T20:20:23.176" v="14845" actId="1035"/>
          <ac:graphicFrameMkLst>
            <pc:docMk/>
            <pc:sldMk cId="883325208" sldId="1480"/>
            <ac:graphicFrameMk id="7" creationId="{CF7DF3CA-4D0E-4A94-BB91-3ABCE2323C64}"/>
          </ac:graphicFrameMkLst>
        </pc:graphicFrameChg>
      </pc:sldChg>
      <pc:sldChg chg="addSp delSp modSp mod addCm modCm">
        <pc:chgData name="Justine Zayhowski" userId="2377d393-ab0f-4e66-8672-ed1beebcd407" providerId="ADAL" clId="{BF7C2B6A-CF86-41AF-93E7-6E90B7779B8F}" dt="2020-11-06T15:59:32.090" v="15758"/>
        <pc:sldMkLst>
          <pc:docMk/>
          <pc:sldMk cId="1541576896" sldId="1481"/>
        </pc:sldMkLst>
        <pc:spChg chg="mod">
          <ac:chgData name="Justine Zayhowski" userId="2377d393-ab0f-4e66-8672-ed1beebcd407" providerId="ADAL" clId="{BF7C2B6A-CF86-41AF-93E7-6E90B7779B8F}" dt="2020-10-30T20:18:17.347" v="10820" actId="20577"/>
          <ac:spMkLst>
            <pc:docMk/>
            <pc:sldMk cId="1541576896" sldId="1481"/>
            <ac:spMk id="2" creationId="{E3BA0A91-8B41-48FE-A4A4-CA9D55288692}"/>
          </ac:spMkLst>
        </pc:spChg>
        <pc:spChg chg="del mod">
          <ac:chgData name="Justine Zayhowski" userId="2377d393-ab0f-4e66-8672-ed1beebcd407" providerId="ADAL" clId="{BF7C2B6A-CF86-41AF-93E7-6E90B7779B8F}" dt="2020-10-30T20:18:19.974" v="10821" actId="478"/>
          <ac:spMkLst>
            <pc:docMk/>
            <pc:sldMk cId="1541576896" sldId="1481"/>
            <ac:spMk id="3" creationId="{3DDF3C43-1B02-4850-9B9B-07DB523DC5AA}"/>
          </ac:spMkLst>
        </pc:spChg>
        <pc:spChg chg="add del mod">
          <ac:chgData name="Justine Zayhowski" userId="2377d393-ab0f-4e66-8672-ed1beebcd407" providerId="ADAL" clId="{BF7C2B6A-CF86-41AF-93E7-6E90B7779B8F}" dt="2020-10-30T20:30:38.748" v="11308" actId="478"/>
          <ac:spMkLst>
            <pc:docMk/>
            <pc:sldMk cId="1541576896" sldId="1481"/>
            <ac:spMk id="4" creationId="{1980132D-1F4B-4C0B-B299-BEFE16FF2B84}"/>
          </ac:spMkLst>
        </pc:spChg>
        <pc:spChg chg="add del mod">
          <ac:chgData name="Justine Zayhowski" userId="2377d393-ab0f-4e66-8672-ed1beebcd407" providerId="ADAL" clId="{BF7C2B6A-CF86-41AF-93E7-6E90B7779B8F}" dt="2020-10-30T20:18:21.351" v="10822" actId="478"/>
          <ac:spMkLst>
            <pc:docMk/>
            <pc:sldMk cId="1541576896" sldId="1481"/>
            <ac:spMk id="6" creationId="{BBBB78F3-9021-4EB8-AA76-03E3F8C6EE76}"/>
          </ac:spMkLst>
        </pc:spChg>
        <pc:spChg chg="add del mod">
          <ac:chgData name="Justine Zayhowski" userId="2377d393-ab0f-4e66-8672-ed1beebcd407" providerId="ADAL" clId="{BF7C2B6A-CF86-41AF-93E7-6E90B7779B8F}" dt="2020-10-30T20:24:35.936" v="11061" actId="478"/>
          <ac:spMkLst>
            <pc:docMk/>
            <pc:sldMk cId="1541576896" sldId="1481"/>
            <ac:spMk id="8" creationId="{06385F23-916D-483B-898B-6A17B61A4903}"/>
          </ac:spMkLst>
        </pc:spChg>
        <pc:spChg chg="del">
          <ac:chgData name="Justine Zayhowski" userId="2377d393-ab0f-4e66-8672-ed1beebcd407" providerId="ADAL" clId="{BF7C2B6A-CF86-41AF-93E7-6E90B7779B8F}" dt="2020-10-30T16:58:52.278" v="4520" actId="478"/>
          <ac:spMkLst>
            <pc:docMk/>
            <pc:sldMk cId="1541576896" sldId="1481"/>
            <ac:spMk id="8" creationId="{C68417FC-DE48-4EF2-8C84-EEECFB6790F0}"/>
          </ac:spMkLst>
        </pc:spChg>
        <pc:graphicFrameChg chg="mod modGraphic">
          <ac:chgData name="Justine Zayhowski" userId="2377d393-ab0f-4e66-8672-ed1beebcd407" providerId="ADAL" clId="{BF7C2B6A-CF86-41AF-93E7-6E90B7779B8F}" dt="2020-11-02T19:15:19.093" v="13981" actId="21"/>
          <ac:graphicFrameMkLst>
            <pc:docMk/>
            <pc:sldMk cId="1541576896" sldId="1481"/>
            <ac:graphicFrameMk id="7" creationId="{5D50B392-E111-4064-B983-4DDEC2E31632}"/>
          </ac:graphicFrameMkLst>
        </pc:graphicFrameChg>
      </pc:sldChg>
      <pc:sldChg chg="modSp del mod">
        <pc:chgData name="Justine Zayhowski" userId="2377d393-ab0f-4e66-8672-ed1beebcd407" providerId="ADAL" clId="{BF7C2B6A-CF86-41AF-93E7-6E90B7779B8F}" dt="2020-10-30T20:34:56.273" v="11535" actId="47"/>
        <pc:sldMkLst>
          <pc:docMk/>
          <pc:sldMk cId="1010717276" sldId="1482"/>
        </pc:sldMkLst>
        <pc:spChg chg="mod">
          <ac:chgData name="Justine Zayhowski" userId="2377d393-ab0f-4e66-8672-ed1beebcd407" providerId="ADAL" clId="{BF7C2B6A-CF86-41AF-93E7-6E90B7779B8F}" dt="2020-10-29T20:48:58.740" v="852" actId="20577"/>
          <ac:spMkLst>
            <pc:docMk/>
            <pc:sldMk cId="1010717276" sldId="1482"/>
            <ac:spMk id="2" creationId="{E3BA0A91-8B41-48FE-A4A4-CA9D55288692}"/>
          </ac:spMkLst>
        </pc:spChg>
      </pc:sldChg>
      <pc:sldChg chg="addSp modSp del mod">
        <pc:chgData name="Justine Zayhowski" userId="2377d393-ab0f-4e66-8672-ed1beebcd407" providerId="ADAL" clId="{BF7C2B6A-CF86-41AF-93E7-6E90B7779B8F}" dt="2020-10-30T20:58:18.580" v="11853" actId="47"/>
        <pc:sldMkLst>
          <pc:docMk/>
          <pc:sldMk cId="420504235" sldId="1483"/>
        </pc:sldMkLst>
        <pc:spChg chg="mod">
          <ac:chgData name="Justine Zayhowski" userId="2377d393-ab0f-4e66-8672-ed1beebcd407" providerId="ADAL" clId="{BF7C2B6A-CF86-41AF-93E7-6E90B7779B8F}" dt="2020-10-29T20:49:03.421" v="864" actId="20577"/>
          <ac:spMkLst>
            <pc:docMk/>
            <pc:sldMk cId="420504235" sldId="1483"/>
            <ac:spMk id="2" creationId="{E3BA0A91-8B41-48FE-A4A4-CA9D55288692}"/>
          </ac:spMkLst>
        </pc:spChg>
        <pc:spChg chg="add">
          <ac:chgData name="Justine Zayhowski" userId="2377d393-ab0f-4e66-8672-ed1beebcd407" providerId="ADAL" clId="{BF7C2B6A-CF86-41AF-93E7-6E90B7779B8F}" dt="2020-10-30T20:37:40.665" v="11617" actId="22"/>
          <ac:spMkLst>
            <pc:docMk/>
            <pc:sldMk cId="420504235" sldId="1483"/>
            <ac:spMk id="4" creationId="{66982AF1-B65D-4FA8-A601-3C77289668A8}"/>
          </ac:spMkLst>
        </pc:spChg>
      </pc:sldChg>
      <pc:sldChg chg="addSp modSp del mod">
        <pc:chgData name="Justine Zayhowski" userId="2377d393-ab0f-4e66-8672-ed1beebcd407" providerId="ADAL" clId="{BF7C2B6A-CF86-41AF-93E7-6E90B7779B8F}" dt="2020-11-02T17:24:41.501" v="13322" actId="47"/>
        <pc:sldMkLst>
          <pc:docMk/>
          <pc:sldMk cId="371369651" sldId="1484"/>
        </pc:sldMkLst>
        <pc:spChg chg="mod">
          <ac:chgData name="Justine Zayhowski" userId="2377d393-ab0f-4e66-8672-ed1beebcd407" providerId="ADAL" clId="{BF7C2B6A-CF86-41AF-93E7-6E90B7779B8F}" dt="2020-10-29T20:49:08.496" v="876" actId="20577"/>
          <ac:spMkLst>
            <pc:docMk/>
            <pc:sldMk cId="371369651" sldId="1484"/>
            <ac:spMk id="2" creationId="{E3BA0A91-8B41-48FE-A4A4-CA9D55288692}"/>
          </ac:spMkLst>
        </pc:spChg>
        <pc:spChg chg="add mod">
          <ac:chgData name="Justine Zayhowski" userId="2377d393-ab0f-4e66-8672-ed1beebcd407" providerId="ADAL" clId="{BF7C2B6A-CF86-41AF-93E7-6E90B7779B8F}" dt="2020-11-02T17:14:17.472" v="12710" actId="20577"/>
          <ac:spMkLst>
            <pc:docMk/>
            <pc:sldMk cId="371369651" sldId="1484"/>
            <ac:spMk id="4" creationId="{F5179E77-1927-49A5-99A9-1FA0FD5323BD}"/>
          </ac:spMkLst>
        </pc:spChg>
        <pc:graphicFrameChg chg="modGraphic">
          <ac:chgData name="Justine Zayhowski" userId="2377d393-ab0f-4e66-8672-ed1beebcd407" providerId="ADAL" clId="{BF7C2B6A-CF86-41AF-93E7-6E90B7779B8F}" dt="2020-10-30T17:14:15.679" v="4934" actId="20577"/>
          <ac:graphicFrameMkLst>
            <pc:docMk/>
            <pc:sldMk cId="371369651" sldId="1484"/>
            <ac:graphicFrameMk id="7" creationId="{5D50B392-E111-4064-B983-4DDEC2E31632}"/>
          </ac:graphicFrameMkLst>
        </pc:graphicFrameChg>
      </pc:sldChg>
      <pc:sldChg chg="modSp add del mod">
        <pc:chgData name="Justine Zayhowski" userId="2377d393-ab0f-4e66-8672-ed1beebcd407" providerId="ADAL" clId="{BF7C2B6A-CF86-41AF-93E7-6E90B7779B8F}" dt="2020-10-30T17:19:48.923" v="5077" actId="47"/>
        <pc:sldMkLst>
          <pc:docMk/>
          <pc:sldMk cId="2724684170" sldId="1485"/>
        </pc:sldMkLst>
        <pc:spChg chg="mod">
          <ac:chgData name="Justine Zayhowski" userId="2377d393-ab0f-4e66-8672-ed1beebcd407" providerId="ADAL" clId="{BF7C2B6A-CF86-41AF-93E7-6E90B7779B8F}" dt="2020-10-29T20:47:56.296" v="730" actId="1035"/>
          <ac:spMkLst>
            <pc:docMk/>
            <pc:sldMk cId="2724684170" sldId="1485"/>
            <ac:spMk id="5" creationId="{D3915D3D-656E-48AA-8D63-358A7E5AA453}"/>
          </ac:spMkLst>
        </pc:spChg>
      </pc:sldChg>
      <pc:sldChg chg="modSp add del mod">
        <pc:chgData name="Justine Zayhowski" userId="2377d393-ab0f-4e66-8672-ed1beebcd407" providerId="ADAL" clId="{BF7C2B6A-CF86-41AF-93E7-6E90B7779B8F}" dt="2020-10-30T17:20:05.119" v="5123" actId="47"/>
        <pc:sldMkLst>
          <pc:docMk/>
          <pc:sldMk cId="900020915" sldId="1486"/>
        </pc:sldMkLst>
        <pc:spChg chg="mod">
          <ac:chgData name="Justine Zayhowski" userId="2377d393-ab0f-4e66-8672-ed1beebcd407" providerId="ADAL" clId="{BF7C2B6A-CF86-41AF-93E7-6E90B7779B8F}" dt="2020-10-29T20:48:04.267" v="756" actId="1035"/>
          <ac:spMkLst>
            <pc:docMk/>
            <pc:sldMk cId="900020915" sldId="1486"/>
            <ac:spMk id="5" creationId="{D3915D3D-656E-48AA-8D63-358A7E5AA453}"/>
          </ac:spMkLst>
        </pc:spChg>
      </pc:sldChg>
      <pc:sldChg chg="modSp add del mod">
        <pc:chgData name="Justine Zayhowski" userId="2377d393-ab0f-4e66-8672-ed1beebcd407" providerId="ADAL" clId="{BF7C2B6A-CF86-41AF-93E7-6E90B7779B8F}" dt="2020-10-30T17:20:12.319" v="5125" actId="47"/>
        <pc:sldMkLst>
          <pc:docMk/>
          <pc:sldMk cId="920931992" sldId="1487"/>
        </pc:sldMkLst>
        <pc:spChg chg="mod">
          <ac:chgData name="Justine Zayhowski" userId="2377d393-ab0f-4e66-8672-ed1beebcd407" providerId="ADAL" clId="{BF7C2B6A-CF86-41AF-93E7-6E90B7779B8F}" dt="2020-10-29T20:48:25.257" v="799" actId="1035"/>
          <ac:spMkLst>
            <pc:docMk/>
            <pc:sldMk cId="920931992" sldId="1487"/>
            <ac:spMk id="5" creationId="{D3915D3D-656E-48AA-8D63-358A7E5AA453}"/>
          </ac:spMkLst>
        </pc:spChg>
      </pc:sldChg>
      <pc:sldChg chg="modSp add del mod">
        <pc:chgData name="Justine Zayhowski" userId="2377d393-ab0f-4e66-8672-ed1beebcd407" providerId="ADAL" clId="{BF7C2B6A-CF86-41AF-93E7-6E90B7779B8F}" dt="2020-10-30T17:24:27.801" v="5435" actId="47"/>
        <pc:sldMkLst>
          <pc:docMk/>
          <pc:sldMk cId="1686039208" sldId="1488"/>
        </pc:sldMkLst>
        <pc:spChg chg="mod">
          <ac:chgData name="Justine Zayhowski" userId="2377d393-ab0f-4e66-8672-ed1beebcd407" providerId="ADAL" clId="{BF7C2B6A-CF86-41AF-93E7-6E90B7779B8F}" dt="2020-10-29T20:48:36.574" v="821" actId="14100"/>
          <ac:spMkLst>
            <pc:docMk/>
            <pc:sldMk cId="1686039208" sldId="1488"/>
            <ac:spMk id="5" creationId="{D3915D3D-656E-48AA-8D63-358A7E5AA453}"/>
          </ac:spMkLst>
        </pc:spChg>
      </pc:sldChg>
      <pc:sldChg chg="modSp add del mod">
        <pc:chgData name="Justine Zayhowski" userId="2377d393-ab0f-4e66-8672-ed1beebcd407" providerId="ADAL" clId="{BF7C2B6A-CF86-41AF-93E7-6E90B7779B8F}" dt="2020-10-30T17:24:37.203" v="5452" actId="47"/>
        <pc:sldMkLst>
          <pc:docMk/>
          <pc:sldMk cId="2864717166" sldId="1489"/>
        </pc:sldMkLst>
        <pc:spChg chg="mod">
          <ac:chgData name="Justine Zayhowski" userId="2377d393-ab0f-4e66-8672-ed1beebcd407" providerId="ADAL" clId="{BF7C2B6A-CF86-41AF-93E7-6E90B7779B8F}" dt="2020-10-29T20:49:24.147" v="894" actId="1035"/>
          <ac:spMkLst>
            <pc:docMk/>
            <pc:sldMk cId="2864717166" sldId="1489"/>
            <ac:spMk id="5" creationId="{D3915D3D-656E-48AA-8D63-358A7E5AA453}"/>
          </ac:spMkLst>
        </pc:spChg>
      </pc:sldChg>
      <pc:sldChg chg="modSp new mod">
        <pc:chgData name="Justine Zayhowski" userId="2377d393-ab0f-4e66-8672-ed1beebcd407" providerId="ADAL" clId="{BF7C2B6A-CF86-41AF-93E7-6E90B7779B8F}" dt="2020-11-16T15:42:03.168" v="18710"/>
        <pc:sldMkLst>
          <pc:docMk/>
          <pc:sldMk cId="1280005851" sldId="1490"/>
        </pc:sldMkLst>
        <pc:spChg chg="mod">
          <ac:chgData name="Justine Zayhowski" userId="2377d393-ab0f-4e66-8672-ed1beebcd407" providerId="ADAL" clId="{BF7C2B6A-CF86-41AF-93E7-6E90B7779B8F}" dt="2020-11-16T15:41:06.766" v="18613" actId="20577"/>
          <ac:spMkLst>
            <pc:docMk/>
            <pc:sldMk cId="1280005851" sldId="1490"/>
            <ac:spMk id="2" creationId="{9432978E-2012-4078-9A63-D04B19A2891E}"/>
          </ac:spMkLst>
        </pc:spChg>
        <pc:spChg chg="mod">
          <ac:chgData name="Justine Zayhowski" userId="2377d393-ab0f-4e66-8672-ed1beebcd407" providerId="ADAL" clId="{BF7C2B6A-CF86-41AF-93E7-6E90B7779B8F}" dt="2020-11-16T15:42:03.168" v="18710"/>
          <ac:spMkLst>
            <pc:docMk/>
            <pc:sldMk cId="1280005851" sldId="1490"/>
            <ac:spMk id="3" creationId="{6F1E2E44-5FF8-46B1-8964-B2D4D2EC3797}"/>
          </ac:spMkLst>
        </pc:spChg>
      </pc:sldChg>
      <pc:sldChg chg="modSp new del mod">
        <pc:chgData name="Justine Zayhowski" userId="2377d393-ab0f-4e66-8672-ed1beebcd407" providerId="ADAL" clId="{BF7C2B6A-CF86-41AF-93E7-6E90B7779B8F}" dt="2020-11-16T15:42:04.953" v="18711" actId="47"/>
        <pc:sldMkLst>
          <pc:docMk/>
          <pc:sldMk cId="3369010947" sldId="1491"/>
        </pc:sldMkLst>
        <pc:spChg chg="mod">
          <ac:chgData name="Justine Zayhowski" userId="2377d393-ab0f-4e66-8672-ed1beebcd407" providerId="ADAL" clId="{BF7C2B6A-CF86-41AF-93E7-6E90B7779B8F}" dt="2020-10-29T21:02:25.664" v="1749" actId="20577"/>
          <ac:spMkLst>
            <pc:docMk/>
            <pc:sldMk cId="3369010947" sldId="1491"/>
            <ac:spMk id="2" creationId="{8C661B4C-0F85-4809-B970-EA20F8A01C26}"/>
          </ac:spMkLst>
        </pc:spChg>
        <pc:spChg chg="mod">
          <ac:chgData name="Justine Zayhowski" userId="2377d393-ab0f-4e66-8672-ed1beebcd407" providerId="ADAL" clId="{BF7C2B6A-CF86-41AF-93E7-6E90B7779B8F}" dt="2020-11-02T19:06:27.298" v="13652" actId="20577"/>
          <ac:spMkLst>
            <pc:docMk/>
            <pc:sldMk cId="3369010947" sldId="1491"/>
            <ac:spMk id="3" creationId="{F7D7F84C-13E6-42F0-BC96-95044985E332}"/>
          </ac:spMkLst>
        </pc:spChg>
      </pc:sldChg>
      <pc:sldChg chg="addSp delSp modSp new mod">
        <pc:chgData name="Justine Zayhowski" userId="2377d393-ab0f-4e66-8672-ed1beebcd407" providerId="ADAL" clId="{BF7C2B6A-CF86-41AF-93E7-6E90B7779B8F}" dt="2020-11-16T15:21:11.616" v="17879" actId="20577"/>
        <pc:sldMkLst>
          <pc:docMk/>
          <pc:sldMk cId="690201876" sldId="1492"/>
        </pc:sldMkLst>
        <pc:spChg chg="mod">
          <ac:chgData name="Justine Zayhowski" userId="2377d393-ab0f-4e66-8672-ed1beebcd407" providerId="ADAL" clId="{BF7C2B6A-CF86-41AF-93E7-6E90B7779B8F}" dt="2020-10-29T21:08:19.897" v="2215" actId="20577"/>
          <ac:spMkLst>
            <pc:docMk/>
            <pc:sldMk cId="690201876" sldId="1492"/>
            <ac:spMk id="2" creationId="{27710C97-9381-48F0-98B3-11EDA7DE1A05}"/>
          </ac:spMkLst>
        </pc:spChg>
        <pc:spChg chg="add del mod">
          <ac:chgData name="Justine Zayhowski" userId="2377d393-ab0f-4e66-8672-ed1beebcd407" providerId="ADAL" clId="{BF7C2B6A-CF86-41AF-93E7-6E90B7779B8F}" dt="2020-10-30T17:20:26.627" v="5158" actId="478"/>
          <ac:spMkLst>
            <pc:docMk/>
            <pc:sldMk cId="690201876" sldId="1492"/>
            <ac:spMk id="3" creationId="{64C9E5A5-8003-432C-834B-9437A90E43CB}"/>
          </ac:spMkLst>
        </pc:spChg>
        <pc:spChg chg="del">
          <ac:chgData name="Justine Zayhowski" userId="2377d393-ab0f-4e66-8672-ed1beebcd407" providerId="ADAL" clId="{BF7C2B6A-CF86-41AF-93E7-6E90B7779B8F}" dt="2020-10-29T21:08:26.063" v="2216" actId="478"/>
          <ac:spMkLst>
            <pc:docMk/>
            <pc:sldMk cId="690201876" sldId="1492"/>
            <ac:spMk id="3" creationId="{DDB6BA4E-091D-4F1E-9F2A-22AF64542210}"/>
          </ac:spMkLst>
        </pc:spChg>
        <pc:spChg chg="add del mod">
          <ac:chgData name="Justine Zayhowski" userId="2377d393-ab0f-4e66-8672-ed1beebcd407" providerId="ADAL" clId="{BF7C2B6A-CF86-41AF-93E7-6E90B7779B8F}" dt="2020-10-30T17:20:28.656" v="5159" actId="478"/>
          <ac:spMkLst>
            <pc:docMk/>
            <pc:sldMk cId="690201876" sldId="1492"/>
            <ac:spMk id="5" creationId="{A394F62C-B943-4D35-9DA0-D29AE28F1278}"/>
          </ac:spMkLst>
        </pc:spChg>
        <pc:spChg chg="add del mod">
          <ac:chgData name="Justine Zayhowski" userId="2377d393-ab0f-4e66-8672-ed1beebcd407" providerId="ADAL" clId="{BF7C2B6A-CF86-41AF-93E7-6E90B7779B8F}" dt="2020-10-30T17:20:20.414" v="5157" actId="478"/>
          <ac:spMkLst>
            <pc:docMk/>
            <pc:sldMk cId="690201876" sldId="1492"/>
            <ac:spMk id="6" creationId="{A52CE62C-98BE-4864-ABFD-A9393A17CBCE}"/>
          </ac:spMkLst>
        </pc:spChg>
        <pc:spChg chg="add mod">
          <ac:chgData name="Justine Zayhowski" userId="2377d393-ab0f-4e66-8672-ed1beebcd407" providerId="ADAL" clId="{BF7C2B6A-CF86-41AF-93E7-6E90B7779B8F}" dt="2020-10-30T17:22:28.721" v="5412" actId="1037"/>
          <ac:spMkLst>
            <pc:docMk/>
            <pc:sldMk cId="690201876" sldId="1492"/>
            <ac:spMk id="7" creationId="{748B19C1-E7D4-48D0-A896-4C8873DC0253}"/>
          </ac:spMkLst>
        </pc:spChg>
        <pc:graphicFrameChg chg="add mod modGraphic">
          <ac:chgData name="Justine Zayhowski" userId="2377d393-ab0f-4e66-8672-ed1beebcd407" providerId="ADAL" clId="{BF7C2B6A-CF86-41AF-93E7-6E90B7779B8F}" dt="2020-11-16T15:21:11.616" v="17879" actId="20577"/>
          <ac:graphicFrameMkLst>
            <pc:docMk/>
            <pc:sldMk cId="690201876" sldId="1492"/>
            <ac:graphicFrameMk id="4" creationId="{2BF16781-B2A9-4BFA-A6A2-944B11AC9EC1}"/>
          </ac:graphicFrameMkLst>
        </pc:graphicFrameChg>
      </pc:sldChg>
      <pc:sldChg chg="modSp new del mod">
        <pc:chgData name="Justine Zayhowski" userId="2377d393-ab0f-4e66-8672-ed1beebcd407" providerId="ADAL" clId="{BF7C2B6A-CF86-41AF-93E7-6E90B7779B8F}" dt="2020-10-30T17:23:30.859" v="5417" actId="47"/>
        <pc:sldMkLst>
          <pc:docMk/>
          <pc:sldMk cId="764731312" sldId="1493"/>
        </pc:sldMkLst>
        <pc:spChg chg="mod">
          <ac:chgData name="Justine Zayhowski" userId="2377d393-ab0f-4e66-8672-ed1beebcd407" providerId="ADAL" clId="{BF7C2B6A-CF86-41AF-93E7-6E90B7779B8F}" dt="2020-10-29T21:10:30.848" v="2281" actId="20577"/>
          <ac:spMkLst>
            <pc:docMk/>
            <pc:sldMk cId="764731312" sldId="1493"/>
            <ac:spMk id="2" creationId="{E8197D34-F636-4E54-8123-43A44ABFDBFF}"/>
          </ac:spMkLst>
        </pc:spChg>
      </pc:sldChg>
      <pc:sldChg chg="modSp new mod delCm">
        <pc:chgData name="Justine Zayhowski" userId="2377d393-ab0f-4e66-8672-ed1beebcd407" providerId="ADAL" clId="{BF7C2B6A-CF86-41AF-93E7-6E90B7779B8F}" dt="2020-11-06T15:06:09.655" v="15395" actId="1592"/>
        <pc:sldMkLst>
          <pc:docMk/>
          <pc:sldMk cId="4034940866" sldId="1494"/>
        </pc:sldMkLst>
        <pc:spChg chg="mod">
          <ac:chgData name="Justine Zayhowski" userId="2377d393-ab0f-4e66-8672-ed1beebcd407" providerId="ADAL" clId="{BF7C2B6A-CF86-41AF-93E7-6E90B7779B8F}" dt="2020-10-29T21:26:39.455" v="3510" actId="20577"/>
          <ac:spMkLst>
            <pc:docMk/>
            <pc:sldMk cId="4034940866" sldId="1494"/>
            <ac:spMk id="2" creationId="{443D5ED4-7E21-42EC-AC41-E2587ABC4027}"/>
          </ac:spMkLst>
        </pc:spChg>
        <pc:spChg chg="mod">
          <ac:chgData name="Justine Zayhowski" userId="2377d393-ab0f-4e66-8672-ed1beebcd407" providerId="ADAL" clId="{BF7C2B6A-CF86-41AF-93E7-6E90B7779B8F}" dt="2020-11-06T15:06:08.304" v="15394" actId="20577"/>
          <ac:spMkLst>
            <pc:docMk/>
            <pc:sldMk cId="4034940866" sldId="1494"/>
            <ac:spMk id="3" creationId="{69A637CC-A6D3-43C2-A573-C252C5DD37E7}"/>
          </ac:spMkLst>
        </pc:spChg>
      </pc:sldChg>
      <pc:sldChg chg="modSp new mod addCm modCm">
        <pc:chgData name="Justine Zayhowski" userId="2377d393-ab0f-4e66-8672-ed1beebcd407" providerId="ADAL" clId="{BF7C2B6A-CF86-41AF-93E7-6E90B7779B8F}" dt="2020-11-06T15:12:54.721" v="15482" actId="20577"/>
        <pc:sldMkLst>
          <pc:docMk/>
          <pc:sldMk cId="245000583" sldId="1495"/>
        </pc:sldMkLst>
        <pc:spChg chg="mod">
          <ac:chgData name="Justine Zayhowski" userId="2377d393-ab0f-4e66-8672-ed1beebcd407" providerId="ADAL" clId="{BF7C2B6A-CF86-41AF-93E7-6E90B7779B8F}" dt="2020-10-30T17:05:47.300" v="4569" actId="20577"/>
          <ac:spMkLst>
            <pc:docMk/>
            <pc:sldMk cId="245000583" sldId="1495"/>
            <ac:spMk id="2" creationId="{5326E931-F3A2-45AD-AD8E-7B4B8D7CBABE}"/>
          </ac:spMkLst>
        </pc:spChg>
        <pc:spChg chg="mod">
          <ac:chgData name="Justine Zayhowski" userId="2377d393-ab0f-4e66-8672-ed1beebcd407" providerId="ADAL" clId="{BF7C2B6A-CF86-41AF-93E7-6E90B7779B8F}" dt="2020-11-06T15:12:54.721" v="15482" actId="20577"/>
          <ac:spMkLst>
            <pc:docMk/>
            <pc:sldMk cId="245000583" sldId="1495"/>
            <ac:spMk id="3" creationId="{A1C527C8-BEEB-4F96-9450-E5AEDAF77F6C}"/>
          </ac:spMkLst>
        </pc:spChg>
      </pc:sldChg>
      <pc:sldChg chg="modSp new del mod">
        <pc:chgData name="Justine Zayhowski" userId="2377d393-ab0f-4e66-8672-ed1beebcd407" providerId="ADAL" clId="{BF7C2B6A-CF86-41AF-93E7-6E90B7779B8F}" dt="2020-10-29T21:30:52.909" v="4186" actId="47"/>
        <pc:sldMkLst>
          <pc:docMk/>
          <pc:sldMk cId="1201959650" sldId="1495"/>
        </pc:sldMkLst>
        <pc:spChg chg="mod">
          <ac:chgData name="Justine Zayhowski" userId="2377d393-ab0f-4e66-8672-ed1beebcd407" providerId="ADAL" clId="{BF7C2B6A-CF86-41AF-93E7-6E90B7779B8F}" dt="2020-10-29T21:30:12.887" v="4095"/>
          <ac:spMkLst>
            <pc:docMk/>
            <pc:sldMk cId="1201959650" sldId="1495"/>
            <ac:spMk id="3" creationId="{434B6E5B-5A72-4F5C-815A-CC594742D742}"/>
          </ac:spMkLst>
        </pc:spChg>
      </pc:sldChg>
      <pc:sldChg chg="modSp add mod">
        <pc:chgData name="Justine Zayhowski" userId="2377d393-ab0f-4e66-8672-ed1beebcd407" providerId="ADAL" clId="{BF7C2B6A-CF86-41AF-93E7-6E90B7779B8F}" dt="2020-10-30T17:22:53.525" v="5415" actId="255"/>
        <pc:sldMkLst>
          <pc:docMk/>
          <pc:sldMk cId="184558784" sldId="1496"/>
        </pc:sldMkLst>
        <pc:spChg chg="mod">
          <ac:chgData name="Justine Zayhowski" userId="2377d393-ab0f-4e66-8672-ed1beebcd407" providerId="ADAL" clId="{BF7C2B6A-CF86-41AF-93E7-6E90B7779B8F}" dt="2020-10-30T17:22:53.525" v="5415" actId="255"/>
          <ac:spMkLst>
            <pc:docMk/>
            <pc:sldMk cId="184558784" sldId="1496"/>
            <ac:spMk id="3" creationId="{8E396B14-F9D7-4ACC-AED3-6E88E76396F5}"/>
          </ac:spMkLst>
        </pc:spChg>
        <pc:spChg chg="mod">
          <ac:chgData name="Justine Zayhowski" userId="2377d393-ab0f-4e66-8672-ed1beebcd407" providerId="ADAL" clId="{BF7C2B6A-CF86-41AF-93E7-6E90B7779B8F}" dt="2020-10-30T17:19:54.541" v="5096" actId="1036"/>
          <ac:spMkLst>
            <pc:docMk/>
            <pc:sldMk cId="184558784" sldId="1496"/>
            <ac:spMk id="5" creationId="{D3915D3D-656E-48AA-8D63-358A7E5AA453}"/>
          </ac:spMkLst>
        </pc:spChg>
      </pc:sldChg>
      <pc:sldChg chg="modSp add mod">
        <pc:chgData name="Justine Zayhowski" userId="2377d393-ab0f-4e66-8672-ed1beebcd407" providerId="ADAL" clId="{BF7C2B6A-CF86-41AF-93E7-6E90B7779B8F}" dt="2020-10-30T17:22:47.254" v="5414" actId="255"/>
        <pc:sldMkLst>
          <pc:docMk/>
          <pc:sldMk cId="2799852487" sldId="1497"/>
        </pc:sldMkLst>
        <pc:spChg chg="mod">
          <ac:chgData name="Justine Zayhowski" userId="2377d393-ab0f-4e66-8672-ed1beebcd407" providerId="ADAL" clId="{BF7C2B6A-CF86-41AF-93E7-6E90B7779B8F}" dt="2020-10-30T17:22:47.254" v="5414" actId="255"/>
          <ac:spMkLst>
            <pc:docMk/>
            <pc:sldMk cId="2799852487" sldId="1497"/>
            <ac:spMk id="3" creationId="{8E396B14-F9D7-4ACC-AED3-6E88E76396F5}"/>
          </ac:spMkLst>
        </pc:spChg>
        <pc:spChg chg="mod">
          <ac:chgData name="Justine Zayhowski" userId="2377d393-ab0f-4e66-8672-ed1beebcd407" providerId="ADAL" clId="{BF7C2B6A-CF86-41AF-93E7-6E90B7779B8F}" dt="2020-10-30T17:20:02.772" v="5122" actId="1035"/>
          <ac:spMkLst>
            <pc:docMk/>
            <pc:sldMk cId="2799852487" sldId="1497"/>
            <ac:spMk id="5" creationId="{D3915D3D-656E-48AA-8D63-358A7E5AA453}"/>
          </ac:spMkLst>
        </pc:spChg>
      </pc:sldChg>
      <pc:sldChg chg="modSp add mod">
        <pc:chgData name="Justine Zayhowski" userId="2377d393-ab0f-4e66-8672-ed1beebcd407" providerId="ADAL" clId="{BF7C2B6A-CF86-41AF-93E7-6E90B7779B8F}" dt="2020-10-30T17:22:39.874" v="5413" actId="255"/>
        <pc:sldMkLst>
          <pc:docMk/>
          <pc:sldMk cId="1243887270" sldId="1498"/>
        </pc:sldMkLst>
        <pc:spChg chg="mod">
          <ac:chgData name="Justine Zayhowski" userId="2377d393-ab0f-4e66-8672-ed1beebcd407" providerId="ADAL" clId="{BF7C2B6A-CF86-41AF-93E7-6E90B7779B8F}" dt="2020-10-30T17:22:39.874" v="5413" actId="255"/>
          <ac:spMkLst>
            <pc:docMk/>
            <pc:sldMk cId="1243887270" sldId="1498"/>
            <ac:spMk id="3" creationId="{8E396B14-F9D7-4ACC-AED3-6E88E76396F5}"/>
          </ac:spMkLst>
        </pc:spChg>
        <pc:spChg chg="mod">
          <ac:chgData name="Justine Zayhowski" userId="2377d393-ab0f-4e66-8672-ed1beebcd407" providerId="ADAL" clId="{BF7C2B6A-CF86-41AF-93E7-6E90B7779B8F}" dt="2020-10-30T17:20:17.367" v="5156" actId="1036"/>
          <ac:spMkLst>
            <pc:docMk/>
            <pc:sldMk cId="1243887270" sldId="1498"/>
            <ac:spMk id="5" creationId="{D3915D3D-656E-48AA-8D63-358A7E5AA453}"/>
          </ac:spMkLst>
        </pc:spChg>
      </pc:sldChg>
      <pc:sldChg chg="modSp add mod">
        <pc:chgData name="Justine Zayhowski" userId="2377d393-ab0f-4e66-8672-ed1beebcd407" providerId="ADAL" clId="{BF7C2B6A-CF86-41AF-93E7-6E90B7779B8F}" dt="2020-10-30T17:24:25.955" v="5434" actId="1036"/>
        <pc:sldMkLst>
          <pc:docMk/>
          <pc:sldMk cId="831014981" sldId="1499"/>
        </pc:sldMkLst>
        <pc:spChg chg="mod">
          <ac:chgData name="Justine Zayhowski" userId="2377d393-ab0f-4e66-8672-ed1beebcd407" providerId="ADAL" clId="{BF7C2B6A-CF86-41AF-93E7-6E90B7779B8F}" dt="2020-10-30T17:24:25.955" v="5434" actId="1036"/>
          <ac:spMkLst>
            <pc:docMk/>
            <pc:sldMk cId="831014981" sldId="1499"/>
            <ac:spMk id="5" creationId="{D3915D3D-656E-48AA-8D63-358A7E5AA453}"/>
          </ac:spMkLst>
        </pc:spChg>
      </pc:sldChg>
      <pc:sldChg chg="addSp delSp modSp add mod">
        <pc:chgData name="Justine Zayhowski" userId="2377d393-ab0f-4e66-8672-ed1beebcd407" providerId="ADAL" clId="{BF7C2B6A-CF86-41AF-93E7-6E90B7779B8F}" dt="2020-11-02T20:11:46.836" v="14355" actId="478"/>
        <pc:sldMkLst>
          <pc:docMk/>
          <pc:sldMk cId="666351884" sldId="1500"/>
        </pc:sldMkLst>
        <pc:spChg chg="add del mod">
          <ac:chgData name="Justine Zayhowski" userId="2377d393-ab0f-4e66-8672-ed1beebcd407" providerId="ADAL" clId="{BF7C2B6A-CF86-41AF-93E7-6E90B7779B8F}" dt="2020-11-02T20:11:44.383" v="14354" actId="21"/>
          <ac:spMkLst>
            <pc:docMk/>
            <pc:sldMk cId="666351884" sldId="1500"/>
            <ac:spMk id="4" creationId="{0990F80D-A97F-4E62-BE27-E894C58868DF}"/>
          </ac:spMkLst>
        </pc:spChg>
        <pc:spChg chg="mod">
          <ac:chgData name="Justine Zayhowski" userId="2377d393-ab0f-4e66-8672-ed1beebcd407" providerId="ADAL" clId="{BF7C2B6A-CF86-41AF-93E7-6E90B7779B8F}" dt="2020-10-30T17:24:35.577" v="5451" actId="1036"/>
          <ac:spMkLst>
            <pc:docMk/>
            <pc:sldMk cId="666351884" sldId="1500"/>
            <ac:spMk id="5" creationId="{D3915D3D-656E-48AA-8D63-358A7E5AA453}"/>
          </ac:spMkLst>
        </pc:spChg>
        <pc:spChg chg="add del mod">
          <ac:chgData name="Justine Zayhowski" userId="2377d393-ab0f-4e66-8672-ed1beebcd407" providerId="ADAL" clId="{BF7C2B6A-CF86-41AF-93E7-6E90B7779B8F}" dt="2020-11-02T20:11:46.836" v="14355" actId="478"/>
          <ac:spMkLst>
            <pc:docMk/>
            <pc:sldMk cId="666351884" sldId="1500"/>
            <ac:spMk id="6" creationId="{8D8ABB06-B67B-475D-9F12-750F930C914C}"/>
          </ac:spMkLst>
        </pc:spChg>
      </pc:sldChg>
      <pc:sldChg chg="modSp add mod ord">
        <pc:chgData name="Justine Zayhowski" userId="2377d393-ab0f-4e66-8672-ed1beebcd407" providerId="ADAL" clId="{BF7C2B6A-CF86-41AF-93E7-6E90B7779B8F}" dt="2020-10-30T18:17:37.727" v="7574"/>
        <pc:sldMkLst>
          <pc:docMk/>
          <pc:sldMk cId="2992463776" sldId="1501"/>
        </pc:sldMkLst>
        <pc:spChg chg="mod">
          <ac:chgData name="Justine Zayhowski" userId="2377d393-ab0f-4e66-8672-ed1beebcd407" providerId="ADAL" clId="{BF7C2B6A-CF86-41AF-93E7-6E90B7779B8F}" dt="2020-10-30T17:24:43.148" v="5471" actId="1035"/>
          <ac:spMkLst>
            <pc:docMk/>
            <pc:sldMk cId="2992463776" sldId="1501"/>
            <ac:spMk id="5" creationId="{D3915D3D-656E-48AA-8D63-358A7E5AA453}"/>
          </ac:spMkLst>
        </pc:spChg>
      </pc:sldChg>
      <pc:sldChg chg="addSp delSp modSp new mod delCm">
        <pc:chgData name="Justine Zayhowski" userId="2377d393-ab0f-4e66-8672-ed1beebcd407" providerId="ADAL" clId="{BF7C2B6A-CF86-41AF-93E7-6E90B7779B8F}" dt="2020-11-20T16:48:09.496" v="19299" actId="1036"/>
        <pc:sldMkLst>
          <pc:docMk/>
          <pc:sldMk cId="4174825195" sldId="1502"/>
        </pc:sldMkLst>
        <pc:spChg chg="mod">
          <ac:chgData name="Justine Zayhowski" userId="2377d393-ab0f-4e66-8672-ed1beebcd407" providerId="ADAL" clId="{BF7C2B6A-CF86-41AF-93E7-6E90B7779B8F}" dt="2020-10-30T17:29:11.213" v="5980" actId="1036"/>
          <ac:spMkLst>
            <pc:docMk/>
            <pc:sldMk cId="4174825195" sldId="1502"/>
            <ac:spMk id="2" creationId="{4F92FCBD-0667-40F1-9D9B-FB541CE009C1}"/>
          </ac:spMkLst>
        </pc:spChg>
        <pc:spChg chg="mod">
          <ac:chgData name="Justine Zayhowski" userId="2377d393-ab0f-4e66-8672-ed1beebcd407" providerId="ADAL" clId="{BF7C2B6A-CF86-41AF-93E7-6E90B7779B8F}" dt="2020-11-20T16:48:09.496" v="19299" actId="1036"/>
          <ac:spMkLst>
            <pc:docMk/>
            <pc:sldMk cId="4174825195" sldId="1502"/>
            <ac:spMk id="3" creationId="{42550BD9-BE77-483C-852F-A54A485DF057}"/>
          </ac:spMkLst>
        </pc:spChg>
        <pc:spChg chg="add del mod">
          <ac:chgData name="Justine Zayhowski" userId="2377d393-ab0f-4e66-8672-ed1beebcd407" providerId="ADAL" clId="{BF7C2B6A-CF86-41AF-93E7-6E90B7779B8F}" dt="2020-10-30T18:18:05.481" v="7578" actId="21"/>
          <ac:spMkLst>
            <pc:docMk/>
            <pc:sldMk cId="4174825195" sldId="1502"/>
            <ac:spMk id="4" creationId="{0762BF5B-878E-4F9E-A6BF-01C40E596ED7}"/>
          </ac:spMkLst>
        </pc:spChg>
      </pc:sldChg>
      <pc:sldChg chg="modSp new mod">
        <pc:chgData name="Justine Zayhowski" userId="2377d393-ab0f-4e66-8672-ed1beebcd407" providerId="ADAL" clId="{BF7C2B6A-CF86-41AF-93E7-6E90B7779B8F}" dt="2020-11-02T17:26:08.564" v="13537" actId="113"/>
        <pc:sldMkLst>
          <pc:docMk/>
          <pc:sldMk cId="1407305578" sldId="1503"/>
        </pc:sldMkLst>
        <pc:spChg chg="mod">
          <ac:chgData name="Justine Zayhowski" userId="2377d393-ab0f-4e66-8672-ed1beebcd407" providerId="ADAL" clId="{BF7C2B6A-CF86-41AF-93E7-6E90B7779B8F}" dt="2020-11-02T17:25:05.066" v="13323"/>
          <ac:spMkLst>
            <pc:docMk/>
            <pc:sldMk cId="1407305578" sldId="1503"/>
            <ac:spMk id="2" creationId="{44BDB6EC-0416-420D-9CA1-C1B75D799B5E}"/>
          </ac:spMkLst>
        </pc:spChg>
        <pc:spChg chg="mod">
          <ac:chgData name="Justine Zayhowski" userId="2377d393-ab0f-4e66-8672-ed1beebcd407" providerId="ADAL" clId="{BF7C2B6A-CF86-41AF-93E7-6E90B7779B8F}" dt="2020-11-02T17:26:08.564" v="13537" actId="113"/>
          <ac:spMkLst>
            <pc:docMk/>
            <pc:sldMk cId="1407305578" sldId="1503"/>
            <ac:spMk id="3" creationId="{A4BFF00B-17F0-413E-86A8-B65140D729FB}"/>
          </ac:spMkLst>
        </pc:spChg>
      </pc:sldChg>
      <pc:sldChg chg="delSp modSp add del mod">
        <pc:chgData name="Justine Zayhowski" userId="2377d393-ab0f-4e66-8672-ed1beebcd407" providerId="ADAL" clId="{BF7C2B6A-CF86-41AF-93E7-6E90B7779B8F}" dt="2020-10-30T19:21:15.407" v="10525" actId="47"/>
        <pc:sldMkLst>
          <pc:docMk/>
          <pc:sldMk cId="3285958316" sldId="1504"/>
        </pc:sldMkLst>
        <pc:spChg chg="mod">
          <ac:chgData name="Justine Zayhowski" userId="2377d393-ab0f-4e66-8672-ed1beebcd407" providerId="ADAL" clId="{BF7C2B6A-CF86-41AF-93E7-6E90B7779B8F}" dt="2020-10-30T18:14:02.161" v="7257" actId="20577"/>
          <ac:spMkLst>
            <pc:docMk/>
            <pc:sldMk cId="3285958316" sldId="1504"/>
            <ac:spMk id="3" creationId="{42550BD9-BE77-483C-852F-A54A485DF057}"/>
          </ac:spMkLst>
        </pc:spChg>
        <pc:spChg chg="del">
          <ac:chgData name="Justine Zayhowski" userId="2377d393-ab0f-4e66-8672-ed1beebcd407" providerId="ADAL" clId="{BF7C2B6A-CF86-41AF-93E7-6E90B7779B8F}" dt="2020-10-30T19:21:05.962" v="10524" actId="478"/>
          <ac:spMkLst>
            <pc:docMk/>
            <pc:sldMk cId="3285958316" sldId="1504"/>
            <ac:spMk id="4" creationId="{0762BF5B-878E-4F9E-A6BF-01C40E596ED7}"/>
          </ac:spMkLst>
        </pc:spChg>
      </pc:sldChg>
      <pc:sldChg chg="addSp delSp modSp new mod">
        <pc:chgData name="Justine Zayhowski" userId="2377d393-ab0f-4e66-8672-ed1beebcd407" providerId="ADAL" clId="{BF7C2B6A-CF86-41AF-93E7-6E90B7779B8F}" dt="2020-11-06T16:34:44.511" v="17155" actId="478"/>
        <pc:sldMkLst>
          <pc:docMk/>
          <pc:sldMk cId="173962392" sldId="1505"/>
        </pc:sldMkLst>
        <pc:spChg chg="mod">
          <ac:chgData name="Justine Zayhowski" userId="2377d393-ab0f-4e66-8672-ed1beebcd407" providerId="ADAL" clId="{BF7C2B6A-CF86-41AF-93E7-6E90B7779B8F}" dt="2020-10-30T18:17:56.528" v="7577" actId="14100"/>
          <ac:spMkLst>
            <pc:docMk/>
            <pc:sldMk cId="173962392" sldId="1505"/>
            <ac:spMk id="2" creationId="{812788F6-0351-4481-987A-99EDF7F23ADB}"/>
          </ac:spMkLst>
        </pc:spChg>
        <pc:spChg chg="mod">
          <ac:chgData name="Justine Zayhowski" userId="2377d393-ab0f-4e66-8672-ed1beebcd407" providerId="ADAL" clId="{BF7C2B6A-CF86-41AF-93E7-6E90B7779B8F}" dt="2020-11-06T16:34:39.792" v="17153" actId="20577"/>
          <ac:spMkLst>
            <pc:docMk/>
            <pc:sldMk cId="173962392" sldId="1505"/>
            <ac:spMk id="3" creationId="{F122E5D3-5428-4FD0-BEE7-843B9B49CC20}"/>
          </ac:spMkLst>
        </pc:spChg>
        <pc:spChg chg="add del mod">
          <ac:chgData name="Justine Zayhowski" userId="2377d393-ab0f-4e66-8672-ed1beebcd407" providerId="ADAL" clId="{BF7C2B6A-CF86-41AF-93E7-6E90B7779B8F}" dt="2020-11-06T16:34:41.449" v="17154" actId="478"/>
          <ac:spMkLst>
            <pc:docMk/>
            <pc:sldMk cId="173962392" sldId="1505"/>
            <ac:spMk id="4" creationId="{E9650F29-3829-42EF-AE85-2FB692F287FB}"/>
          </ac:spMkLst>
        </pc:spChg>
        <pc:spChg chg="add del mod">
          <ac:chgData name="Justine Zayhowski" userId="2377d393-ab0f-4e66-8672-ed1beebcd407" providerId="ADAL" clId="{BF7C2B6A-CF86-41AF-93E7-6E90B7779B8F}" dt="2020-10-30T19:15:36.950" v="9826" actId="478"/>
          <ac:spMkLst>
            <pc:docMk/>
            <pc:sldMk cId="173962392" sldId="1505"/>
            <ac:spMk id="5" creationId="{E61CE3DB-F4A4-4FD3-9212-607C87927821}"/>
          </ac:spMkLst>
        </pc:spChg>
        <pc:graphicFrameChg chg="add del mod">
          <ac:chgData name="Justine Zayhowski" userId="2377d393-ab0f-4e66-8672-ed1beebcd407" providerId="ADAL" clId="{BF7C2B6A-CF86-41AF-93E7-6E90B7779B8F}" dt="2020-10-30T19:14:18.933" v="9792"/>
          <ac:graphicFrameMkLst>
            <pc:docMk/>
            <pc:sldMk cId="173962392" sldId="1505"/>
            <ac:graphicFrameMk id="6" creationId="{27BD7DBB-ABDA-40EA-8D5D-FCA07904FA35}"/>
          </ac:graphicFrameMkLst>
        </pc:graphicFrameChg>
        <pc:graphicFrameChg chg="add del mod modGraphic">
          <ac:chgData name="Justine Zayhowski" userId="2377d393-ab0f-4e66-8672-ed1beebcd407" providerId="ADAL" clId="{BF7C2B6A-CF86-41AF-93E7-6E90B7779B8F}" dt="2020-11-06T16:34:44.511" v="17155" actId="478"/>
          <ac:graphicFrameMkLst>
            <pc:docMk/>
            <pc:sldMk cId="173962392" sldId="1505"/>
            <ac:graphicFrameMk id="6" creationId="{609DAC30-AABA-463D-89D6-32F5B6CABEDF}"/>
          </ac:graphicFrameMkLst>
        </pc:graphicFrameChg>
        <pc:graphicFrameChg chg="add del mod modGraphic">
          <ac:chgData name="Justine Zayhowski" userId="2377d393-ab0f-4e66-8672-ed1beebcd407" providerId="ADAL" clId="{BF7C2B6A-CF86-41AF-93E7-6E90B7779B8F}" dt="2020-11-02T20:11:11.799" v="14336" actId="478"/>
          <ac:graphicFrameMkLst>
            <pc:docMk/>
            <pc:sldMk cId="173962392" sldId="1505"/>
            <ac:graphicFrameMk id="7" creationId="{3C4736C9-A0B0-4259-8355-A3BDBE51DB35}"/>
          </ac:graphicFrameMkLst>
        </pc:graphicFrameChg>
      </pc:sldChg>
      <pc:sldChg chg="addSp delSp modSp add mod delCm">
        <pc:chgData name="Justine Zayhowski" userId="2377d393-ab0f-4e66-8672-ed1beebcd407" providerId="ADAL" clId="{BF7C2B6A-CF86-41AF-93E7-6E90B7779B8F}" dt="2020-11-06T16:56:15.758" v="17631" actId="1592"/>
        <pc:sldMkLst>
          <pc:docMk/>
          <pc:sldMk cId="1058099442" sldId="1506"/>
        </pc:sldMkLst>
        <pc:spChg chg="mod">
          <ac:chgData name="Justine Zayhowski" userId="2377d393-ab0f-4e66-8672-ed1beebcd407" providerId="ADAL" clId="{BF7C2B6A-CF86-41AF-93E7-6E90B7779B8F}" dt="2020-11-06T16:55:59.215" v="17595" actId="5793"/>
          <ac:spMkLst>
            <pc:docMk/>
            <pc:sldMk cId="1058099442" sldId="1506"/>
            <ac:spMk id="3" creationId="{F122E5D3-5428-4FD0-BEE7-843B9B49CC20}"/>
          </ac:spMkLst>
        </pc:spChg>
        <pc:spChg chg="add mod">
          <ac:chgData name="Justine Zayhowski" userId="2377d393-ab0f-4e66-8672-ed1beebcd407" providerId="ADAL" clId="{BF7C2B6A-CF86-41AF-93E7-6E90B7779B8F}" dt="2020-11-06T16:56:12.127" v="17628" actId="207"/>
          <ac:spMkLst>
            <pc:docMk/>
            <pc:sldMk cId="1058099442" sldId="1506"/>
            <ac:spMk id="4" creationId="{9A07CBB3-38F7-4C6F-B780-E812270386B7}"/>
          </ac:spMkLst>
        </pc:spChg>
        <pc:spChg chg="del">
          <ac:chgData name="Justine Zayhowski" userId="2377d393-ab0f-4e66-8672-ed1beebcd407" providerId="ADAL" clId="{BF7C2B6A-CF86-41AF-93E7-6E90B7779B8F}" dt="2020-10-30T19:00:23.344" v="8240" actId="478"/>
          <ac:spMkLst>
            <pc:docMk/>
            <pc:sldMk cId="1058099442" sldId="1506"/>
            <ac:spMk id="5" creationId="{E61CE3DB-F4A4-4FD3-9212-607C87927821}"/>
          </ac:spMkLst>
        </pc:spChg>
      </pc:sldChg>
      <pc:sldChg chg="delSp modSp add mod ord">
        <pc:chgData name="Justine Zayhowski" userId="2377d393-ab0f-4e66-8672-ed1beebcd407" providerId="ADAL" clId="{BF7C2B6A-CF86-41AF-93E7-6E90B7779B8F}" dt="2020-10-30T19:18:11.649" v="9958"/>
        <pc:sldMkLst>
          <pc:docMk/>
          <pc:sldMk cId="2090324227" sldId="1507"/>
        </pc:sldMkLst>
        <pc:spChg chg="mod">
          <ac:chgData name="Justine Zayhowski" userId="2377d393-ab0f-4e66-8672-ed1beebcd407" providerId="ADAL" clId="{BF7C2B6A-CF86-41AF-93E7-6E90B7779B8F}" dt="2020-10-30T19:07:06.204" v="9019" actId="20577"/>
          <ac:spMkLst>
            <pc:docMk/>
            <pc:sldMk cId="2090324227" sldId="1507"/>
            <ac:spMk id="3" creationId="{F122E5D3-5428-4FD0-BEE7-843B9B49CC20}"/>
          </ac:spMkLst>
        </pc:spChg>
        <pc:spChg chg="del">
          <ac:chgData name="Justine Zayhowski" userId="2377d393-ab0f-4e66-8672-ed1beebcd407" providerId="ADAL" clId="{BF7C2B6A-CF86-41AF-93E7-6E90B7779B8F}" dt="2020-10-30T19:06:13.995" v="8840" actId="478"/>
          <ac:spMkLst>
            <pc:docMk/>
            <pc:sldMk cId="2090324227" sldId="1507"/>
            <ac:spMk id="5" creationId="{E61CE3DB-F4A4-4FD3-9212-607C87927821}"/>
          </ac:spMkLst>
        </pc:spChg>
      </pc:sldChg>
      <pc:sldChg chg="modSp new mod ord">
        <pc:chgData name="Justine Zayhowski" userId="2377d393-ab0f-4e66-8672-ed1beebcd407" providerId="ADAL" clId="{BF7C2B6A-CF86-41AF-93E7-6E90B7779B8F}" dt="2020-11-06T16:16:24.333" v="16795" actId="20577"/>
        <pc:sldMkLst>
          <pc:docMk/>
          <pc:sldMk cId="1902974447" sldId="1508"/>
        </pc:sldMkLst>
        <pc:spChg chg="mod">
          <ac:chgData name="Justine Zayhowski" userId="2377d393-ab0f-4e66-8672-ed1beebcd407" providerId="ADAL" clId="{BF7C2B6A-CF86-41AF-93E7-6E90B7779B8F}" dt="2020-10-30T19:12:34.445" v="9781" actId="14100"/>
          <ac:spMkLst>
            <pc:docMk/>
            <pc:sldMk cId="1902974447" sldId="1508"/>
            <ac:spMk id="2" creationId="{DE4FA169-451F-4132-9E15-17662AC54C30}"/>
          </ac:spMkLst>
        </pc:spChg>
        <pc:spChg chg="mod">
          <ac:chgData name="Justine Zayhowski" userId="2377d393-ab0f-4e66-8672-ed1beebcd407" providerId="ADAL" clId="{BF7C2B6A-CF86-41AF-93E7-6E90B7779B8F}" dt="2020-11-06T16:16:24.333" v="16795" actId="20577"/>
          <ac:spMkLst>
            <pc:docMk/>
            <pc:sldMk cId="1902974447" sldId="1508"/>
            <ac:spMk id="3" creationId="{0B3483BA-1404-4855-A8DE-0F782AB9B6DB}"/>
          </ac:spMkLst>
        </pc:spChg>
      </pc:sldChg>
      <pc:sldChg chg="modSp new del mod">
        <pc:chgData name="Justine Zayhowski" userId="2377d393-ab0f-4e66-8672-ed1beebcd407" providerId="ADAL" clId="{BF7C2B6A-CF86-41AF-93E7-6E90B7779B8F}" dt="2020-10-30T20:02:41.657" v="10641" actId="47"/>
        <pc:sldMkLst>
          <pc:docMk/>
          <pc:sldMk cId="1656079197" sldId="1509"/>
        </pc:sldMkLst>
        <pc:spChg chg="mod">
          <ac:chgData name="Justine Zayhowski" userId="2377d393-ab0f-4e66-8672-ed1beebcd407" providerId="ADAL" clId="{BF7C2B6A-CF86-41AF-93E7-6E90B7779B8F}" dt="2020-10-30T19:46:55.473" v="10528"/>
          <ac:spMkLst>
            <pc:docMk/>
            <pc:sldMk cId="1656079197" sldId="1509"/>
            <ac:spMk id="2" creationId="{08A296F2-3DBD-46FA-8000-744FA644C8EE}"/>
          </ac:spMkLst>
        </pc:spChg>
        <pc:spChg chg="mod">
          <ac:chgData name="Justine Zayhowski" userId="2377d393-ab0f-4e66-8672-ed1beebcd407" providerId="ADAL" clId="{BF7C2B6A-CF86-41AF-93E7-6E90B7779B8F}" dt="2020-10-30T20:02:33.607" v="10633" actId="20577"/>
          <ac:spMkLst>
            <pc:docMk/>
            <pc:sldMk cId="1656079197" sldId="1509"/>
            <ac:spMk id="3" creationId="{C6004552-6F87-4392-9396-EAC0598750D7}"/>
          </ac:spMkLst>
        </pc:spChg>
      </pc:sldChg>
      <pc:sldChg chg="addSp modSp new mod addCm modCm">
        <pc:chgData name="Justine Zayhowski" userId="2377d393-ab0f-4e66-8672-ed1beebcd407" providerId="ADAL" clId="{BF7C2B6A-CF86-41AF-93E7-6E90B7779B8F}" dt="2020-11-06T15:49:12.004" v="15689"/>
        <pc:sldMkLst>
          <pc:docMk/>
          <pc:sldMk cId="1958059492" sldId="1509"/>
        </pc:sldMkLst>
        <pc:spChg chg="mod">
          <ac:chgData name="Justine Zayhowski" userId="2377d393-ab0f-4e66-8672-ed1beebcd407" providerId="ADAL" clId="{BF7C2B6A-CF86-41AF-93E7-6E90B7779B8F}" dt="2020-11-06T15:34:11.790" v="15489" actId="20577"/>
          <ac:spMkLst>
            <pc:docMk/>
            <pc:sldMk cId="1958059492" sldId="1509"/>
            <ac:spMk id="2" creationId="{E868C5EF-3C61-4F3D-8A77-7720B8D25001}"/>
          </ac:spMkLst>
        </pc:spChg>
        <pc:spChg chg="mod">
          <ac:chgData name="Justine Zayhowski" userId="2377d393-ab0f-4e66-8672-ed1beebcd407" providerId="ADAL" clId="{BF7C2B6A-CF86-41AF-93E7-6E90B7779B8F}" dt="2020-10-30T20:30:20.131" v="11303" actId="1035"/>
          <ac:spMkLst>
            <pc:docMk/>
            <pc:sldMk cId="1958059492" sldId="1509"/>
            <ac:spMk id="3" creationId="{216BDBF3-AD75-48CD-AB7C-5D5CDB6E9F43}"/>
          </ac:spMkLst>
        </pc:spChg>
        <pc:spChg chg="add mod">
          <ac:chgData name="Justine Zayhowski" userId="2377d393-ab0f-4e66-8672-ed1beebcd407" providerId="ADAL" clId="{BF7C2B6A-CF86-41AF-93E7-6E90B7779B8F}" dt="2020-10-30T20:30:16.139" v="11300" actId="255"/>
          <ac:spMkLst>
            <pc:docMk/>
            <pc:sldMk cId="1958059492" sldId="1509"/>
            <ac:spMk id="4" creationId="{0F40D6B6-C06F-4D56-A06A-A496A4A81583}"/>
          </ac:spMkLst>
        </pc:spChg>
      </pc:sldChg>
      <pc:sldChg chg="addSp delSp modSp add mod delCm">
        <pc:chgData name="Justine Zayhowski" userId="2377d393-ab0f-4e66-8672-ed1beebcd407" providerId="ADAL" clId="{BF7C2B6A-CF86-41AF-93E7-6E90B7779B8F}" dt="2020-11-06T16:08:24.448" v="16125" actId="20577"/>
        <pc:sldMkLst>
          <pc:docMk/>
          <pc:sldMk cId="1534380008" sldId="1510"/>
        </pc:sldMkLst>
        <pc:spChg chg="add mod">
          <ac:chgData name="Justine Zayhowski" userId="2377d393-ab0f-4e66-8672-ed1beebcd407" providerId="ADAL" clId="{BF7C2B6A-CF86-41AF-93E7-6E90B7779B8F}" dt="2020-11-06T16:08:24.448" v="16125" actId="20577"/>
          <ac:spMkLst>
            <pc:docMk/>
            <pc:sldMk cId="1534380008" sldId="1510"/>
            <ac:spMk id="3" creationId="{7A5B5E05-BBFF-4603-8123-B0C2F659BA49}"/>
          </ac:spMkLst>
        </pc:spChg>
        <pc:spChg chg="add del mod">
          <ac:chgData name="Justine Zayhowski" userId="2377d393-ab0f-4e66-8672-ed1beebcd407" providerId="ADAL" clId="{BF7C2B6A-CF86-41AF-93E7-6E90B7779B8F}" dt="2020-11-02T19:14:56.962" v="13978" actId="478"/>
          <ac:spMkLst>
            <pc:docMk/>
            <pc:sldMk cId="1534380008" sldId="1510"/>
            <ac:spMk id="4" creationId="{B85C4FA9-578C-4F17-8956-74BDA3D1ABEA}"/>
          </ac:spMkLst>
        </pc:spChg>
        <pc:graphicFrameChg chg="mod modGraphic">
          <ac:chgData name="Justine Zayhowski" userId="2377d393-ab0f-4e66-8672-ed1beebcd407" providerId="ADAL" clId="{BF7C2B6A-CF86-41AF-93E7-6E90B7779B8F}" dt="2020-11-06T16:05:01.965" v="15761"/>
          <ac:graphicFrameMkLst>
            <pc:docMk/>
            <pc:sldMk cId="1534380008" sldId="1510"/>
            <ac:graphicFrameMk id="7" creationId="{5D50B392-E111-4064-B983-4DDEC2E31632}"/>
          </ac:graphicFrameMkLst>
        </pc:graphicFrameChg>
      </pc:sldChg>
      <pc:sldChg chg="addSp delSp modSp add mod ord">
        <pc:chgData name="Justine Zayhowski" userId="2377d393-ab0f-4e66-8672-ed1beebcd407" providerId="ADAL" clId="{BF7C2B6A-CF86-41AF-93E7-6E90B7779B8F}" dt="2020-11-06T16:07:21.429" v="15994"/>
        <pc:sldMkLst>
          <pc:docMk/>
          <pc:sldMk cId="3336706788" sldId="1511"/>
        </pc:sldMkLst>
        <pc:spChg chg="mod">
          <ac:chgData name="Justine Zayhowski" userId="2377d393-ab0f-4e66-8672-ed1beebcd407" providerId="ADAL" clId="{BF7C2B6A-CF86-41AF-93E7-6E90B7779B8F}" dt="2020-11-02T17:09:55.284" v="12587" actId="20577"/>
          <ac:spMkLst>
            <pc:docMk/>
            <pc:sldMk cId="3336706788" sldId="1511"/>
            <ac:spMk id="2" creationId="{E3BA0A91-8B41-48FE-A4A4-CA9D55288692}"/>
          </ac:spMkLst>
        </pc:spChg>
        <pc:graphicFrameChg chg="add del mod">
          <ac:chgData name="Justine Zayhowski" userId="2377d393-ab0f-4e66-8672-ed1beebcd407" providerId="ADAL" clId="{BF7C2B6A-CF86-41AF-93E7-6E90B7779B8F}" dt="2020-10-30T20:49:51.116" v="11822" actId="478"/>
          <ac:graphicFrameMkLst>
            <pc:docMk/>
            <pc:sldMk cId="3336706788" sldId="1511"/>
            <ac:graphicFrameMk id="3" creationId="{96C5509F-D133-4579-8F1A-BE951F6F502A}"/>
          </ac:graphicFrameMkLst>
        </pc:graphicFrameChg>
        <pc:graphicFrameChg chg="mod modGraphic">
          <ac:chgData name="Justine Zayhowski" userId="2377d393-ab0f-4e66-8672-ed1beebcd407" providerId="ADAL" clId="{BF7C2B6A-CF86-41AF-93E7-6E90B7779B8F}" dt="2020-11-02T17:08:58.424" v="12573" actId="1036"/>
          <ac:graphicFrameMkLst>
            <pc:docMk/>
            <pc:sldMk cId="3336706788" sldId="1511"/>
            <ac:graphicFrameMk id="7" creationId="{5D50B392-E111-4064-B983-4DDEC2E31632}"/>
          </ac:graphicFrameMkLst>
        </pc:graphicFrameChg>
      </pc:sldChg>
      <pc:sldChg chg="modSp add mod delCm">
        <pc:chgData name="Justine Zayhowski" userId="2377d393-ab0f-4e66-8672-ed1beebcd407" providerId="ADAL" clId="{BF7C2B6A-CF86-41AF-93E7-6E90B7779B8F}" dt="2020-11-16T15:43:07.688" v="18779" actId="12"/>
        <pc:sldMkLst>
          <pc:docMk/>
          <pc:sldMk cId="106047338" sldId="1512"/>
        </pc:sldMkLst>
        <pc:spChg chg="mod">
          <ac:chgData name="Justine Zayhowski" userId="2377d393-ab0f-4e66-8672-ed1beebcd407" providerId="ADAL" clId="{BF7C2B6A-CF86-41AF-93E7-6E90B7779B8F}" dt="2020-11-16T15:42:29.195" v="18777" actId="20577"/>
          <ac:spMkLst>
            <pc:docMk/>
            <pc:sldMk cId="106047338" sldId="1512"/>
            <ac:spMk id="2" creationId="{8C661B4C-0F85-4809-B970-EA20F8A01C26}"/>
          </ac:spMkLst>
        </pc:spChg>
        <pc:spChg chg="mod">
          <ac:chgData name="Justine Zayhowski" userId="2377d393-ab0f-4e66-8672-ed1beebcd407" providerId="ADAL" clId="{BF7C2B6A-CF86-41AF-93E7-6E90B7779B8F}" dt="2020-11-16T15:43:07.688" v="18779" actId="12"/>
          <ac:spMkLst>
            <pc:docMk/>
            <pc:sldMk cId="106047338" sldId="1512"/>
            <ac:spMk id="3" creationId="{F7D7F84C-13E6-42F0-BC96-95044985E332}"/>
          </ac:spMkLst>
        </pc:spChg>
      </pc:sldChg>
      <pc:sldChg chg="modSp add del mod">
        <pc:chgData name="Justine Zayhowski" userId="2377d393-ab0f-4e66-8672-ed1beebcd407" providerId="ADAL" clId="{BF7C2B6A-CF86-41AF-93E7-6E90B7779B8F}" dt="2020-11-02T17:24:39.597" v="13321" actId="47"/>
        <pc:sldMkLst>
          <pc:docMk/>
          <pc:sldMk cId="2878404466" sldId="1513"/>
        </pc:sldMkLst>
        <pc:spChg chg="mod">
          <ac:chgData name="Justine Zayhowski" userId="2377d393-ab0f-4e66-8672-ed1beebcd407" providerId="ADAL" clId="{BF7C2B6A-CF86-41AF-93E7-6E90B7779B8F}" dt="2020-11-02T17:06:45.580" v="12518" actId="20577"/>
          <ac:spMkLst>
            <pc:docMk/>
            <pc:sldMk cId="2878404466" sldId="1513"/>
            <ac:spMk id="2" creationId="{E3BA0A91-8B41-48FE-A4A4-CA9D55288692}"/>
          </ac:spMkLst>
        </pc:spChg>
        <pc:graphicFrameChg chg="mod modGraphic">
          <ac:chgData name="Justine Zayhowski" userId="2377d393-ab0f-4e66-8672-ed1beebcd407" providerId="ADAL" clId="{BF7C2B6A-CF86-41AF-93E7-6E90B7779B8F}" dt="2020-11-02T17:09:26.227" v="12577" actId="2161"/>
          <ac:graphicFrameMkLst>
            <pc:docMk/>
            <pc:sldMk cId="2878404466" sldId="1513"/>
            <ac:graphicFrameMk id="7" creationId="{5D50B392-E111-4064-B983-4DDEC2E31632}"/>
          </ac:graphicFrameMkLst>
        </pc:graphicFrameChg>
      </pc:sldChg>
      <pc:sldChg chg="addSp delSp modSp new mod">
        <pc:chgData name="Justine Zayhowski" userId="2377d393-ab0f-4e66-8672-ed1beebcd407" providerId="ADAL" clId="{BF7C2B6A-CF86-41AF-93E7-6E90B7779B8F}" dt="2020-11-06T16:14:31.231" v="16683" actId="1036"/>
        <pc:sldMkLst>
          <pc:docMk/>
          <pc:sldMk cId="2196500935" sldId="1514"/>
        </pc:sldMkLst>
        <pc:spChg chg="mod">
          <ac:chgData name="Justine Zayhowski" userId="2377d393-ab0f-4e66-8672-ed1beebcd407" providerId="ADAL" clId="{BF7C2B6A-CF86-41AF-93E7-6E90B7779B8F}" dt="2020-11-02T20:20:53.291" v="14859" actId="20577"/>
          <ac:spMkLst>
            <pc:docMk/>
            <pc:sldMk cId="2196500935" sldId="1514"/>
            <ac:spMk id="2" creationId="{25EEEB2C-AAA9-41AE-BA42-09D490E33EC5}"/>
          </ac:spMkLst>
        </pc:spChg>
        <pc:spChg chg="mod">
          <ac:chgData name="Justine Zayhowski" userId="2377d393-ab0f-4e66-8672-ed1beebcd407" providerId="ADAL" clId="{BF7C2B6A-CF86-41AF-93E7-6E90B7779B8F}" dt="2020-11-06T16:13:10.732" v="16658" actId="20577"/>
          <ac:spMkLst>
            <pc:docMk/>
            <pc:sldMk cId="2196500935" sldId="1514"/>
            <ac:spMk id="3" creationId="{9EFA7465-A6CC-4B43-B59E-0DA449C0E0EC}"/>
          </ac:spMkLst>
        </pc:spChg>
        <pc:spChg chg="add mod">
          <ac:chgData name="Justine Zayhowski" userId="2377d393-ab0f-4e66-8672-ed1beebcd407" providerId="ADAL" clId="{BF7C2B6A-CF86-41AF-93E7-6E90B7779B8F}" dt="2020-11-06T16:12:55.871" v="16642" actId="1076"/>
          <ac:spMkLst>
            <pc:docMk/>
            <pc:sldMk cId="2196500935" sldId="1514"/>
            <ac:spMk id="4" creationId="{039E1590-BBAC-4826-92B4-49635B368B2B}"/>
          </ac:spMkLst>
        </pc:spChg>
        <pc:spChg chg="add del mod">
          <ac:chgData name="Justine Zayhowski" userId="2377d393-ab0f-4e66-8672-ed1beebcd407" providerId="ADAL" clId="{BF7C2B6A-CF86-41AF-93E7-6E90B7779B8F}" dt="2020-11-06T16:09:49.052" v="16523" actId="478"/>
          <ac:spMkLst>
            <pc:docMk/>
            <pc:sldMk cId="2196500935" sldId="1514"/>
            <ac:spMk id="5" creationId="{23B080CA-9853-44A4-8476-24705A81B34A}"/>
          </ac:spMkLst>
        </pc:spChg>
        <pc:spChg chg="add mod">
          <ac:chgData name="Justine Zayhowski" userId="2377d393-ab0f-4e66-8672-ed1beebcd407" providerId="ADAL" clId="{BF7C2B6A-CF86-41AF-93E7-6E90B7779B8F}" dt="2020-11-06T16:13:19.672" v="16660" actId="1076"/>
          <ac:spMkLst>
            <pc:docMk/>
            <pc:sldMk cId="2196500935" sldId="1514"/>
            <ac:spMk id="7" creationId="{21533000-D182-4410-A603-6FB5C1A0DA95}"/>
          </ac:spMkLst>
        </pc:spChg>
        <pc:spChg chg="add mod">
          <ac:chgData name="Justine Zayhowski" userId="2377d393-ab0f-4e66-8672-ed1beebcd407" providerId="ADAL" clId="{BF7C2B6A-CF86-41AF-93E7-6E90B7779B8F}" dt="2020-11-06T16:14:31.231" v="16683" actId="1036"/>
          <ac:spMkLst>
            <pc:docMk/>
            <pc:sldMk cId="2196500935" sldId="1514"/>
            <ac:spMk id="8" creationId="{4434C0B3-7C3E-4089-9EC3-05C08D98F287}"/>
          </ac:spMkLst>
        </pc:spChg>
      </pc:sldChg>
      <pc:sldChg chg="delSp modSp add mod delCm">
        <pc:chgData name="Justine Zayhowski" userId="2377d393-ab0f-4e66-8672-ed1beebcd407" providerId="ADAL" clId="{BF7C2B6A-CF86-41AF-93E7-6E90B7779B8F}" dt="2020-11-06T16:14:49.107" v="16685" actId="1592"/>
        <pc:sldMkLst>
          <pc:docMk/>
          <pc:sldMk cId="4282725040" sldId="1515"/>
        </pc:sldMkLst>
        <pc:spChg chg="mod">
          <ac:chgData name="Justine Zayhowski" userId="2377d393-ab0f-4e66-8672-ed1beebcd407" providerId="ADAL" clId="{BF7C2B6A-CF86-41AF-93E7-6E90B7779B8F}" dt="2020-11-02T17:24:35.981" v="13320" actId="255"/>
          <ac:spMkLst>
            <pc:docMk/>
            <pc:sldMk cId="4282725040" sldId="1515"/>
            <ac:spMk id="3" creationId="{9EFA7465-A6CC-4B43-B59E-0DA449C0E0EC}"/>
          </ac:spMkLst>
        </pc:spChg>
        <pc:spChg chg="del">
          <ac:chgData name="Justine Zayhowski" userId="2377d393-ab0f-4e66-8672-ed1beebcd407" providerId="ADAL" clId="{BF7C2B6A-CF86-41AF-93E7-6E90B7779B8F}" dt="2020-11-06T16:14:47.701" v="16684" actId="478"/>
          <ac:spMkLst>
            <pc:docMk/>
            <pc:sldMk cId="4282725040" sldId="1515"/>
            <ac:spMk id="4" creationId="{039E1590-BBAC-4826-92B4-49635B368B2B}"/>
          </ac:spMkLst>
        </pc:spChg>
      </pc:sldChg>
      <pc:sldChg chg="modSp add mod addCm delCm modCm">
        <pc:chgData name="Justine Zayhowski" userId="2377d393-ab0f-4e66-8672-ed1beebcd407" providerId="ADAL" clId="{BF7C2B6A-CF86-41AF-93E7-6E90B7779B8F}" dt="2020-11-06T16:54:34.139" v="17531" actId="1037"/>
        <pc:sldMkLst>
          <pc:docMk/>
          <pc:sldMk cId="836771716" sldId="1516"/>
        </pc:sldMkLst>
        <pc:spChg chg="mod">
          <ac:chgData name="Justine Zayhowski" userId="2377d393-ab0f-4e66-8672-ed1beebcd407" providerId="ADAL" clId="{BF7C2B6A-CF86-41AF-93E7-6E90B7779B8F}" dt="2020-11-06T16:54:27.126" v="17523" actId="1035"/>
          <ac:spMkLst>
            <pc:docMk/>
            <pc:sldMk cId="836771716" sldId="1516"/>
            <ac:spMk id="3" creationId="{F122E5D3-5428-4FD0-BEE7-843B9B49CC20}"/>
          </ac:spMkLst>
        </pc:spChg>
        <pc:graphicFrameChg chg="mod modGraphic">
          <ac:chgData name="Justine Zayhowski" userId="2377d393-ab0f-4e66-8672-ed1beebcd407" providerId="ADAL" clId="{BF7C2B6A-CF86-41AF-93E7-6E90B7779B8F}" dt="2020-11-06T16:54:34.139" v="17531" actId="1037"/>
          <ac:graphicFrameMkLst>
            <pc:docMk/>
            <pc:sldMk cId="836771716" sldId="1516"/>
            <ac:graphicFrameMk id="7" creationId="{3C4736C9-A0B0-4259-8355-A3BDBE51DB35}"/>
          </ac:graphicFrameMkLst>
        </pc:graphicFrameChg>
      </pc:sldChg>
      <pc:sldChg chg="addSp modSp new mod delCm">
        <pc:chgData name="Justine Zayhowski" userId="2377d393-ab0f-4e66-8672-ed1beebcd407" providerId="ADAL" clId="{BF7C2B6A-CF86-41AF-93E7-6E90B7779B8F}" dt="2020-11-06T17:41:28.675" v="17642" actId="1592"/>
        <pc:sldMkLst>
          <pc:docMk/>
          <pc:sldMk cId="1884594512" sldId="1517"/>
        </pc:sldMkLst>
        <pc:spChg chg="mod">
          <ac:chgData name="Justine Zayhowski" userId="2377d393-ab0f-4e66-8672-ed1beebcd407" providerId="ADAL" clId="{BF7C2B6A-CF86-41AF-93E7-6E90B7779B8F}" dt="2020-11-06T15:34:18.294" v="15514" actId="20577"/>
          <ac:spMkLst>
            <pc:docMk/>
            <pc:sldMk cId="1884594512" sldId="1517"/>
            <ac:spMk id="2" creationId="{F3A4FC48-4A7C-4002-A3F4-A2B0BE377676}"/>
          </ac:spMkLst>
        </pc:spChg>
        <pc:spChg chg="mod">
          <ac:chgData name="Justine Zayhowski" userId="2377d393-ab0f-4e66-8672-ed1beebcd407" providerId="ADAL" clId="{BF7C2B6A-CF86-41AF-93E7-6E90B7779B8F}" dt="2020-11-06T17:41:22.226" v="17641" actId="20577"/>
          <ac:spMkLst>
            <pc:docMk/>
            <pc:sldMk cId="1884594512" sldId="1517"/>
            <ac:spMk id="3" creationId="{9A731303-FF90-4828-A9F3-3FEE9034E438}"/>
          </ac:spMkLst>
        </pc:spChg>
        <pc:spChg chg="add mod">
          <ac:chgData name="Justine Zayhowski" userId="2377d393-ab0f-4e66-8672-ed1beebcd407" providerId="ADAL" clId="{BF7C2B6A-CF86-41AF-93E7-6E90B7779B8F}" dt="2020-11-06T15:42:49.307" v="15649" actId="1076"/>
          <ac:spMkLst>
            <pc:docMk/>
            <pc:sldMk cId="1884594512" sldId="1517"/>
            <ac:spMk id="4" creationId="{0F25D6FC-9906-44EC-9A8B-8FAB5451055E}"/>
          </ac:spMkLst>
        </pc:spChg>
      </pc:sldChg>
      <pc:sldChg chg="addSp modSp new mod">
        <pc:chgData name="Justine Zayhowski" userId="2377d393-ab0f-4e66-8672-ed1beebcd407" providerId="ADAL" clId="{BF7C2B6A-CF86-41AF-93E7-6E90B7779B8F}" dt="2020-11-06T15:51:08.476" v="15748" actId="1076"/>
        <pc:sldMkLst>
          <pc:docMk/>
          <pc:sldMk cId="3650825949" sldId="1518"/>
        </pc:sldMkLst>
        <pc:spChg chg="mod">
          <ac:chgData name="Justine Zayhowski" userId="2377d393-ab0f-4e66-8672-ed1beebcd407" providerId="ADAL" clId="{BF7C2B6A-CF86-41AF-93E7-6E90B7779B8F}" dt="2020-11-06T15:49:19.456" v="15691"/>
          <ac:spMkLst>
            <pc:docMk/>
            <pc:sldMk cId="3650825949" sldId="1518"/>
            <ac:spMk id="2" creationId="{9388FF14-71E8-4A35-8F5D-8D08392D8224}"/>
          </ac:spMkLst>
        </pc:spChg>
        <pc:spChg chg="mod">
          <ac:chgData name="Justine Zayhowski" userId="2377d393-ab0f-4e66-8672-ed1beebcd407" providerId="ADAL" clId="{BF7C2B6A-CF86-41AF-93E7-6E90B7779B8F}" dt="2020-11-06T15:50:24.457" v="15730" actId="1076"/>
          <ac:spMkLst>
            <pc:docMk/>
            <pc:sldMk cId="3650825949" sldId="1518"/>
            <ac:spMk id="3" creationId="{0D6DBD72-B605-4FBF-AF36-16C0EE1ADF9C}"/>
          </ac:spMkLst>
        </pc:spChg>
        <pc:spChg chg="add mod">
          <ac:chgData name="Justine Zayhowski" userId="2377d393-ab0f-4e66-8672-ed1beebcd407" providerId="ADAL" clId="{BF7C2B6A-CF86-41AF-93E7-6E90B7779B8F}" dt="2020-11-06T15:51:08.476" v="15748" actId="1076"/>
          <ac:spMkLst>
            <pc:docMk/>
            <pc:sldMk cId="3650825949" sldId="1518"/>
            <ac:spMk id="4" creationId="{624A395E-4E90-44B1-99C3-6F17803558C1}"/>
          </ac:spMkLst>
        </pc:spChg>
      </pc:sldChg>
      <pc:sldChg chg="addSp delSp modSp new mod">
        <pc:chgData name="Justine Zayhowski" userId="2377d393-ab0f-4e66-8672-ed1beebcd407" providerId="ADAL" clId="{BF7C2B6A-CF86-41AF-93E7-6E90B7779B8F}" dt="2020-11-06T17:41:43.371" v="17647" actId="20577"/>
        <pc:sldMkLst>
          <pc:docMk/>
          <pc:sldMk cId="433791631" sldId="1519"/>
        </pc:sldMkLst>
        <pc:spChg chg="mod">
          <ac:chgData name="Justine Zayhowski" userId="2377d393-ab0f-4e66-8672-ed1beebcd407" providerId="ADAL" clId="{BF7C2B6A-CF86-41AF-93E7-6E90B7779B8F}" dt="2020-11-06T16:07:44.243" v="15998"/>
          <ac:spMkLst>
            <pc:docMk/>
            <pc:sldMk cId="433791631" sldId="1519"/>
            <ac:spMk id="2" creationId="{F625F8A6-0446-4B09-87C7-8D1364D69E7C}"/>
          </ac:spMkLst>
        </pc:spChg>
        <pc:spChg chg="mod">
          <ac:chgData name="Justine Zayhowski" userId="2377d393-ab0f-4e66-8672-ed1beebcd407" providerId="ADAL" clId="{BF7C2B6A-CF86-41AF-93E7-6E90B7779B8F}" dt="2020-11-06T17:41:43.371" v="17647" actId="20577"/>
          <ac:spMkLst>
            <pc:docMk/>
            <pc:sldMk cId="433791631" sldId="1519"/>
            <ac:spMk id="3" creationId="{88107667-FBB9-4C5E-99C1-F42AE0B6E347}"/>
          </ac:spMkLst>
        </pc:spChg>
        <pc:spChg chg="add del mod">
          <ac:chgData name="Justine Zayhowski" userId="2377d393-ab0f-4e66-8672-ed1beebcd407" providerId="ADAL" clId="{BF7C2B6A-CF86-41AF-93E7-6E90B7779B8F}" dt="2020-11-06T17:41:38.724" v="17643" actId="478"/>
          <ac:spMkLst>
            <pc:docMk/>
            <pc:sldMk cId="433791631" sldId="1519"/>
            <ac:spMk id="5" creationId="{8186EFC7-2552-45D6-80A9-E8995C58C0DF}"/>
          </ac:spMkLst>
        </pc:spChg>
      </pc:sldChg>
      <pc:sldChg chg="modSp add mod">
        <pc:chgData name="Justine Zayhowski" userId="2377d393-ab0f-4e66-8672-ed1beebcd407" providerId="ADAL" clId="{BF7C2B6A-CF86-41AF-93E7-6E90B7779B8F}" dt="2020-11-06T16:38:51.473" v="17265" actId="166"/>
        <pc:sldMkLst>
          <pc:docMk/>
          <pc:sldMk cId="913840089" sldId="1520"/>
        </pc:sldMkLst>
        <pc:spChg chg="mod">
          <ac:chgData name="Justine Zayhowski" userId="2377d393-ab0f-4e66-8672-ed1beebcd407" providerId="ADAL" clId="{BF7C2B6A-CF86-41AF-93E7-6E90B7779B8F}" dt="2020-11-06T16:38:40.939" v="17262" actId="1076"/>
          <ac:spMkLst>
            <pc:docMk/>
            <pc:sldMk cId="913840089" sldId="1520"/>
            <ac:spMk id="3" creationId="{F122E5D3-5428-4FD0-BEE7-843B9B49CC20}"/>
          </ac:spMkLst>
        </pc:spChg>
        <pc:spChg chg="mod ord">
          <ac:chgData name="Justine Zayhowski" userId="2377d393-ab0f-4e66-8672-ed1beebcd407" providerId="ADAL" clId="{BF7C2B6A-CF86-41AF-93E7-6E90B7779B8F}" dt="2020-11-06T16:38:51.473" v="17265" actId="166"/>
          <ac:spMkLst>
            <pc:docMk/>
            <pc:sldMk cId="913840089" sldId="1520"/>
            <ac:spMk id="4" creationId="{E9650F29-3829-42EF-AE85-2FB692F287FB}"/>
          </ac:spMkLst>
        </pc:spChg>
        <pc:graphicFrameChg chg="mod modGraphic">
          <ac:chgData name="Justine Zayhowski" userId="2377d393-ab0f-4e66-8672-ed1beebcd407" providerId="ADAL" clId="{BF7C2B6A-CF86-41AF-93E7-6E90B7779B8F}" dt="2020-11-06T16:38:44.461" v="17263" actId="1076"/>
          <ac:graphicFrameMkLst>
            <pc:docMk/>
            <pc:sldMk cId="913840089" sldId="1520"/>
            <ac:graphicFrameMk id="6" creationId="{609DAC30-AABA-463D-89D6-32F5B6CABEDF}"/>
          </ac:graphicFrameMkLst>
        </pc:graphicFrameChg>
      </pc:sldChg>
      <pc:sldChg chg="addSp delSp modSp add del mod">
        <pc:chgData name="Justine Zayhowski" userId="2377d393-ab0f-4e66-8672-ed1beebcd407" providerId="ADAL" clId="{BF7C2B6A-CF86-41AF-93E7-6E90B7779B8F}" dt="2020-11-06T16:13:20.959" v="16661" actId="47"/>
        <pc:sldMkLst>
          <pc:docMk/>
          <pc:sldMk cId="3119242939" sldId="1520"/>
        </pc:sldMkLst>
        <pc:spChg chg="mod">
          <ac:chgData name="Justine Zayhowski" userId="2377d393-ab0f-4e66-8672-ed1beebcd407" providerId="ADAL" clId="{BF7C2B6A-CF86-41AF-93E7-6E90B7779B8F}" dt="2020-11-06T16:09:58.844" v="16528" actId="20577"/>
          <ac:spMkLst>
            <pc:docMk/>
            <pc:sldMk cId="3119242939" sldId="1520"/>
            <ac:spMk id="3" creationId="{9EFA7465-A6CC-4B43-B59E-0DA449C0E0EC}"/>
          </ac:spMkLst>
        </pc:spChg>
        <pc:spChg chg="del">
          <ac:chgData name="Justine Zayhowski" userId="2377d393-ab0f-4e66-8672-ed1beebcd407" providerId="ADAL" clId="{BF7C2B6A-CF86-41AF-93E7-6E90B7779B8F}" dt="2020-11-06T16:09:56.731" v="16525" actId="478"/>
          <ac:spMkLst>
            <pc:docMk/>
            <pc:sldMk cId="3119242939" sldId="1520"/>
            <ac:spMk id="4" creationId="{039E1590-BBAC-4826-92B4-49635B368B2B}"/>
          </ac:spMkLst>
        </pc:spChg>
        <pc:spChg chg="add mod">
          <ac:chgData name="Justine Zayhowski" userId="2377d393-ab0f-4e66-8672-ed1beebcd407" providerId="ADAL" clId="{BF7C2B6A-CF86-41AF-93E7-6E90B7779B8F}" dt="2020-11-06T16:10:24.863" v="16641" actId="1076"/>
          <ac:spMkLst>
            <pc:docMk/>
            <pc:sldMk cId="3119242939" sldId="1520"/>
            <ac:spMk id="5" creationId="{C77012A6-14B4-48ED-92B2-43F3C9048EBD}"/>
          </ac:spMkLst>
        </pc:spChg>
      </pc:sldChg>
      <pc:sldChg chg="modSp new mod">
        <pc:chgData name="Justine Zayhowski" userId="2377d393-ab0f-4e66-8672-ed1beebcd407" providerId="ADAL" clId="{BF7C2B6A-CF86-41AF-93E7-6E90B7779B8F}" dt="2020-11-16T16:08:43.989" v="18795" actId="20577"/>
        <pc:sldMkLst>
          <pc:docMk/>
          <pc:sldMk cId="2520337176" sldId="1521"/>
        </pc:sldMkLst>
        <pc:spChg chg="mod">
          <ac:chgData name="Justine Zayhowski" userId="2377d393-ab0f-4e66-8672-ed1beebcd407" providerId="ADAL" clId="{BF7C2B6A-CF86-41AF-93E7-6E90B7779B8F}" dt="2020-11-16T15:40:10.604" v="18542" actId="20577"/>
          <ac:spMkLst>
            <pc:docMk/>
            <pc:sldMk cId="2520337176" sldId="1521"/>
            <ac:spMk id="2" creationId="{5E17678C-B75D-47BC-AC31-18B51C4F49E7}"/>
          </ac:spMkLst>
        </pc:spChg>
        <pc:spChg chg="mod">
          <ac:chgData name="Justine Zayhowski" userId="2377d393-ab0f-4e66-8672-ed1beebcd407" providerId="ADAL" clId="{BF7C2B6A-CF86-41AF-93E7-6E90B7779B8F}" dt="2020-11-16T16:08:43.989" v="18795" actId="20577"/>
          <ac:spMkLst>
            <pc:docMk/>
            <pc:sldMk cId="2520337176" sldId="1521"/>
            <ac:spMk id="3" creationId="{BBC4C649-1D4D-42B8-BB13-1BA282870526}"/>
          </ac:spMkLst>
        </pc:spChg>
      </pc:sldChg>
      <pc:sldChg chg="modSp new del mod">
        <pc:chgData name="Justine Zayhowski" userId="2377d393-ab0f-4e66-8672-ed1beebcd407" providerId="ADAL" clId="{BF7C2B6A-CF86-41AF-93E7-6E90B7779B8F}" dt="2020-11-16T15:40:54.625" v="18583" actId="47"/>
        <pc:sldMkLst>
          <pc:docMk/>
          <pc:sldMk cId="1759654192" sldId="1522"/>
        </pc:sldMkLst>
        <pc:spChg chg="mod">
          <ac:chgData name="Justine Zayhowski" userId="2377d393-ab0f-4e66-8672-ed1beebcd407" providerId="ADAL" clId="{BF7C2B6A-CF86-41AF-93E7-6E90B7779B8F}" dt="2020-11-16T15:33:48.671" v="17962" actId="20577"/>
          <ac:spMkLst>
            <pc:docMk/>
            <pc:sldMk cId="1759654192" sldId="1522"/>
            <ac:spMk id="2" creationId="{A58753CB-07A8-47C6-9CA4-3AEA510D7BB7}"/>
          </ac:spMkLst>
        </pc:spChg>
      </pc:sldChg>
      <pc:sldChg chg="modSp new mod">
        <pc:chgData name="Justine Zayhowski" userId="2377d393-ab0f-4e66-8672-ed1beebcd407" providerId="ADAL" clId="{BF7C2B6A-CF86-41AF-93E7-6E90B7779B8F}" dt="2020-11-17T14:16:37.797" v="19295" actId="20577"/>
        <pc:sldMkLst>
          <pc:docMk/>
          <pc:sldMk cId="2217316014" sldId="1522"/>
        </pc:sldMkLst>
        <pc:spChg chg="mod">
          <ac:chgData name="Justine Zayhowski" userId="2377d393-ab0f-4e66-8672-ed1beebcd407" providerId="ADAL" clId="{BF7C2B6A-CF86-41AF-93E7-6E90B7779B8F}" dt="2020-11-17T14:05:14.162" v="18798" actId="14100"/>
          <ac:spMkLst>
            <pc:docMk/>
            <pc:sldMk cId="2217316014" sldId="1522"/>
            <ac:spMk id="2" creationId="{03CFAAC7-C015-4120-8D56-EA174DBE0FD3}"/>
          </ac:spMkLst>
        </pc:spChg>
        <pc:spChg chg="mod">
          <ac:chgData name="Justine Zayhowski" userId="2377d393-ab0f-4e66-8672-ed1beebcd407" providerId="ADAL" clId="{BF7C2B6A-CF86-41AF-93E7-6E90B7779B8F}" dt="2020-11-17T14:16:37.797" v="19295" actId="20577"/>
          <ac:spMkLst>
            <pc:docMk/>
            <pc:sldMk cId="2217316014" sldId="1522"/>
            <ac:spMk id="3" creationId="{954E1304-B64F-4FE0-BAD4-771DC2901E71}"/>
          </ac:spMkLst>
        </pc:spChg>
      </pc:sldChg>
      <pc:sldChg chg="del">
        <pc:chgData name="Justine Zayhowski" userId="2377d393-ab0f-4e66-8672-ed1beebcd407" providerId="ADAL" clId="{BF7C2B6A-CF86-41AF-93E7-6E90B7779B8F}" dt="2020-10-27T13:39:07.283" v="235" actId="47"/>
        <pc:sldMkLst>
          <pc:docMk/>
          <pc:sldMk cId="4155167128" sldId="4168"/>
        </pc:sldMkLst>
      </pc:sldChg>
      <pc:sldChg chg="del">
        <pc:chgData name="Justine Zayhowski" userId="2377d393-ab0f-4e66-8672-ed1beebcd407" providerId="ADAL" clId="{BF7C2B6A-CF86-41AF-93E7-6E90B7779B8F}" dt="2020-10-27T13:39:08.455" v="238" actId="47"/>
        <pc:sldMkLst>
          <pc:docMk/>
          <pc:sldMk cId="3032302256" sldId="4169"/>
        </pc:sldMkLst>
      </pc:sldChg>
      <pc:sldChg chg="del">
        <pc:chgData name="Justine Zayhowski" userId="2377d393-ab0f-4e66-8672-ed1beebcd407" providerId="ADAL" clId="{BF7C2B6A-CF86-41AF-93E7-6E90B7779B8F}" dt="2020-10-27T13:39:03.234" v="224" actId="47"/>
        <pc:sldMkLst>
          <pc:docMk/>
          <pc:sldMk cId="618455487" sldId="4170"/>
        </pc:sldMkLst>
      </pc:sldChg>
      <pc:sldChg chg="del">
        <pc:chgData name="Justine Zayhowski" userId="2377d393-ab0f-4e66-8672-ed1beebcd407" providerId="ADAL" clId="{BF7C2B6A-CF86-41AF-93E7-6E90B7779B8F}" dt="2020-10-27T13:39:04.142" v="226" actId="47"/>
        <pc:sldMkLst>
          <pc:docMk/>
          <pc:sldMk cId="2795554531" sldId="4171"/>
        </pc:sldMkLst>
      </pc:sldChg>
      <pc:sldChg chg="del">
        <pc:chgData name="Justine Zayhowski" userId="2377d393-ab0f-4e66-8672-ed1beebcd407" providerId="ADAL" clId="{BF7C2B6A-CF86-41AF-93E7-6E90B7779B8F}" dt="2020-10-27T13:39:09.496" v="239" actId="47"/>
        <pc:sldMkLst>
          <pc:docMk/>
          <pc:sldMk cId="2608460202" sldId="4172"/>
        </pc:sldMkLst>
      </pc:sldChg>
      <pc:sldChg chg="del">
        <pc:chgData name="Justine Zayhowski" userId="2377d393-ab0f-4e66-8672-ed1beebcd407" providerId="ADAL" clId="{BF7C2B6A-CF86-41AF-93E7-6E90B7779B8F}" dt="2020-10-27T13:39:16.950" v="246" actId="47"/>
        <pc:sldMkLst>
          <pc:docMk/>
          <pc:sldMk cId="691885733" sldId="4173"/>
        </pc:sldMkLst>
      </pc:sldChg>
      <pc:sldChg chg="del">
        <pc:chgData name="Justine Zayhowski" userId="2377d393-ab0f-4e66-8672-ed1beebcd407" providerId="ADAL" clId="{BF7C2B6A-CF86-41AF-93E7-6E90B7779B8F}" dt="2020-10-27T13:35:18.573" v="67" actId="47"/>
        <pc:sldMkLst>
          <pc:docMk/>
          <pc:sldMk cId="1050308910" sldId="4174"/>
        </pc:sldMkLst>
      </pc:sldChg>
      <pc:sldMasterChg chg="del delSldLayout">
        <pc:chgData name="Justine Zayhowski" userId="2377d393-ab0f-4e66-8672-ed1beebcd407" providerId="ADAL" clId="{BF7C2B6A-CF86-41AF-93E7-6E90B7779B8F}" dt="2020-10-27T13:39:06.757" v="234" actId="47"/>
        <pc:sldMasterMkLst>
          <pc:docMk/>
          <pc:sldMasterMk cId="1419037583" sldId="2147483672"/>
        </pc:sldMasterMkLst>
        <pc:sldLayoutChg chg="del">
          <pc:chgData name="Justine Zayhowski" userId="2377d393-ab0f-4e66-8672-ed1beebcd407" providerId="ADAL" clId="{BF7C2B6A-CF86-41AF-93E7-6E90B7779B8F}" dt="2020-10-27T13:39:04.914" v="228" actId="47"/>
          <pc:sldLayoutMkLst>
            <pc:docMk/>
            <pc:sldMasterMk cId="1419037583" sldId="2147483672"/>
            <pc:sldLayoutMk cId="1898781498" sldId="2147483673"/>
          </pc:sldLayoutMkLst>
        </pc:sldLayoutChg>
        <pc:sldLayoutChg chg="del">
          <pc:chgData name="Justine Zayhowski" userId="2377d393-ab0f-4e66-8672-ed1beebcd407" providerId="ADAL" clId="{BF7C2B6A-CF86-41AF-93E7-6E90B7779B8F}" dt="2020-10-27T13:39:05.886" v="231" actId="47"/>
          <pc:sldLayoutMkLst>
            <pc:docMk/>
            <pc:sldMasterMk cId="1419037583" sldId="2147483672"/>
            <pc:sldLayoutMk cId="589828745" sldId="2147483674"/>
          </pc:sldLayoutMkLst>
        </pc:sldLayoutChg>
        <pc:sldLayoutChg chg="del">
          <pc:chgData name="Justine Zayhowski" userId="2377d393-ab0f-4e66-8672-ed1beebcd407" providerId="ADAL" clId="{BF7C2B6A-CF86-41AF-93E7-6E90B7779B8F}" dt="2020-10-27T13:39:06.757" v="234" actId="47"/>
          <pc:sldLayoutMkLst>
            <pc:docMk/>
            <pc:sldMasterMk cId="1419037583" sldId="2147483672"/>
            <pc:sldLayoutMk cId="3791676363" sldId="2147483675"/>
          </pc:sldLayoutMkLst>
        </pc:sldLayoutChg>
        <pc:sldLayoutChg chg="del">
          <pc:chgData name="Justine Zayhowski" userId="2377d393-ab0f-4e66-8672-ed1beebcd407" providerId="ADAL" clId="{BF7C2B6A-CF86-41AF-93E7-6E90B7779B8F}" dt="2020-10-27T13:39:06.757" v="234" actId="47"/>
          <pc:sldLayoutMkLst>
            <pc:docMk/>
            <pc:sldMasterMk cId="1419037583" sldId="2147483672"/>
            <pc:sldLayoutMk cId="1539697423" sldId="2147483676"/>
          </pc:sldLayoutMkLst>
        </pc:sldLayoutChg>
        <pc:sldLayoutChg chg="del">
          <pc:chgData name="Justine Zayhowski" userId="2377d393-ab0f-4e66-8672-ed1beebcd407" providerId="ADAL" clId="{BF7C2B6A-CF86-41AF-93E7-6E90B7779B8F}" dt="2020-10-27T13:39:06.757" v="234" actId="47"/>
          <pc:sldLayoutMkLst>
            <pc:docMk/>
            <pc:sldMasterMk cId="1419037583" sldId="2147483672"/>
            <pc:sldLayoutMk cId="1711777662" sldId="2147483677"/>
          </pc:sldLayoutMkLst>
        </pc:sldLayoutChg>
        <pc:sldLayoutChg chg="del">
          <pc:chgData name="Justine Zayhowski" userId="2377d393-ab0f-4e66-8672-ed1beebcd407" providerId="ADAL" clId="{BF7C2B6A-CF86-41AF-93E7-6E90B7779B8F}" dt="2020-10-27T13:39:06.757" v="234" actId="47"/>
          <pc:sldLayoutMkLst>
            <pc:docMk/>
            <pc:sldMasterMk cId="1419037583" sldId="2147483672"/>
            <pc:sldLayoutMk cId="2615088220" sldId="2147483678"/>
          </pc:sldLayoutMkLst>
        </pc:sldLayoutChg>
        <pc:sldLayoutChg chg="del">
          <pc:chgData name="Justine Zayhowski" userId="2377d393-ab0f-4e66-8672-ed1beebcd407" providerId="ADAL" clId="{BF7C2B6A-CF86-41AF-93E7-6E90B7779B8F}" dt="2020-10-27T13:39:06.757" v="234" actId="47"/>
          <pc:sldLayoutMkLst>
            <pc:docMk/>
            <pc:sldMasterMk cId="1419037583" sldId="2147483672"/>
            <pc:sldLayoutMk cId="2279363596" sldId="2147483679"/>
          </pc:sldLayoutMkLst>
        </pc:sldLayoutChg>
        <pc:sldLayoutChg chg="del">
          <pc:chgData name="Justine Zayhowski" userId="2377d393-ab0f-4e66-8672-ed1beebcd407" providerId="ADAL" clId="{BF7C2B6A-CF86-41AF-93E7-6E90B7779B8F}" dt="2020-10-27T13:39:06.757" v="234" actId="47"/>
          <pc:sldLayoutMkLst>
            <pc:docMk/>
            <pc:sldMasterMk cId="1419037583" sldId="2147483672"/>
            <pc:sldLayoutMk cId="3253949652" sldId="2147483680"/>
          </pc:sldLayoutMkLst>
        </pc:sldLayoutChg>
        <pc:sldLayoutChg chg="del">
          <pc:chgData name="Justine Zayhowski" userId="2377d393-ab0f-4e66-8672-ed1beebcd407" providerId="ADAL" clId="{BF7C2B6A-CF86-41AF-93E7-6E90B7779B8F}" dt="2020-10-27T13:39:06.757" v="234" actId="47"/>
          <pc:sldLayoutMkLst>
            <pc:docMk/>
            <pc:sldMasterMk cId="1419037583" sldId="2147483672"/>
            <pc:sldLayoutMk cId="1017973346" sldId="2147483681"/>
          </pc:sldLayoutMkLst>
        </pc:sldLayoutChg>
        <pc:sldLayoutChg chg="del">
          <pc:chgData name="Justine Zayhowski" userId="2377d393-ab0f-4e66-8672-ed1beebcd407" providerId="ADAL" clId="{BF7C2B6A-CF86-41AF-93E7-6E90B7779B8F}" dt="2020-10-27T13:39:06.757" v="234" actId="47"/>
          <pc:sldLayoutMkLst>
            <pc:docMk/>
            <pc:sldMasterMk cId="1419037583" sldId="2147483672"/>
            <pc:sldLayoutMk cId="3464199488" sldId="2147483682"/>
          </pc:sldLayoutMkLst>
        </pc:sldLayoutChg>
        <pc:sldLayoutChg chg="del">
          <pc:chgData name="Justine Zayhowski" userId="2377d393-ab0f-4e66-8672-ed1beebcd407" providerId="ADAL" clId="{BF7C2B6A-CF86-41AF-93E7-6E90B7779B8F}" dt="2020-10-27T13:39:06.440" v="233" actId="47"/>
          <pc:sldLayoutMkLst>
            <pc:docMk/>
            <pc:sldMasterMk cId="1419037583" sldId="2147483672"/>
            <pc:sldLayoutMk cId="4096318893" sldId="2147483683"/>
          </pc:sldLayoutMkLst>
        </pc:sldLayoutChg>
        <pc:sldLayoutChg chg="del">
          <pc:chgData name="Justine Zayhowski" userId="2377d393-ab0f-4e66-8672-ed1beebcd407" providerId="ADAL" clId="{BF7C2B6A-CF86-41AF-93E7-6E90B7779B8F}" dt="2020-10-27T13:39:05.268" v="229" actId="47"/>
          <pc:sldLayoutMkLst>
            <pc:docMk/>
            <pc:sldMasterMk cId="1419037583" sldId="2147483672"/>
            <pc:sldLayoutMk cId="169092631" sldId="2147483684"/>
          </pc:sldLayoutMkLst>
        </pc:sldLayoutChg>
      </pc:sldMasterChg>
    </pc:docChg>
  </pc:docChgLst>
  <pc:docChgLst>
    <pc:chgData name="Erin Taylor" userId="c09af165-50a0-4a78-8b32-79b157be4bff" providerId="ADAL" clId="{02394A34-4FC4-4343-AB76-17C9AC10141B}"/>
    <pc:docChg chg="undo custSel addSld delSld modSld">
      <pc:chgData name="Erin Taylor" userId="c09af165-50a0-4a78-8b32-79b157be4bff" providerId="ADAL" clId="{02394A34-4FC4-4343-AB76-17C9AC10141B}" dt="2020-10-29T17:34:00.139" v="1635" actId="1076"/>
      <pc:docMkLst>
        <pc:docMk/>
      </pc:docMkLst>
      <pc:sldChg chg="addSp delSp modSp add mod modAnim addCm delCm modCm">
        <pc:chgData name="Erin Taylor" userId="c09af165-50a0-4a78-8b32-79b157be4bff" providerId="ADAL" clId="{02394A34-4FC4-4343-AB76-17C9AC10141B}" dt="2020-10-29T17:14:16.568" v="906" actId="6549"/>
        <pc:sldMkLst>
          <pc:docMk/>
          <pc:sldMk cId="883325208" sldId="1480"/>
        </pc:sldMkLst>
        <pc:spChg chg="mod">
          <ac:chgData name="Erin Taylor" userId="c09af165-50a0-4a78-8b32-79b157be4bff" providerId="ADAL" clId="{02394A34-4FC4-4343-AB76-17C9AC10141B}" dt="2020-10-29T17:09:50.495" v="743"/>
          <ac:spMkLst>
            <pc:docMk/>
            <pc:sldMk cId="883325208" sldId="1480"/>
            <ac:spMk id="2" creationId="{E3BA0A91-8B41-48FE-A4A4-CA9D55288692}"/>
          </ac:spMkLst>
        </pc:spChg>
        <pc:spChg chg="mod ord">
          <ac:chgData name="Erin Taylor" userId="c09af165-50a0-4a78-8b32-79b157be4bff" providerId="ADAL" clId="{02394A34-4FC4-4343-AB76-17C9AC10141B}" dt="2020-10-29T17:14:07.001" v="903" actId="404"/>
          <ac:spMkLst>
            <pc:docMk/>
            <pc:sldMk cId="883325208" sldId="1480"/>
            <ac:spMk id="3" creationId="{3DDF3C43-1B02-4850-9B9B-07DB523DC5AA}"/>
          </ac:spMkLst>
        </pc:spChg>
        <pc:spChg chg="add del mod">
          <ac:chgData name="Erin Taylor" userId="c09af165-50a0-4a78-8b32-79b157be4bff" providerId="ADAL" clId="{02394A34-4FC4-4343-AB76-17C9AC10141B}" dt="2020-10-29T17:09:50.495" v="743"/>
          <ac:spMkLst>
            <pc:docMk/>
            <pc:sldMk cId="883325208" sldId="1480"/>
            <ac:spMk id="4" creationId="{664BB60A-F70D-4874-80E4-78ABD03CEBAE}"/>
          </ac:spMkLst>
        </pc:spChg>
        <pc:spChg chg="add del mod">
          <ac:chgData name="Erin Taylor" userId="c09af165-50a0-4a78-8b32-79b157be4bff" providerId="ADAL" clId="{02394A34-4FC4-4343-AB76-17C9AC10141B}" dt="2020-10-29T17:09:50.495" v="743"/>
          <ac:spMkLst>
            <pc:docMk/>
            <pc:sldMk cId="883325208" sldId="1480"/>
            <ac:spMk id="5" creationId="{F2EE988C-4AA8-4283-A549-3C75D3385CDA}"/>
          </ac:spMkLst>
        </pc:spChg>
        <pc:graphicFrameChg chg="add mod ord modGraphic">
          <ac:chgData name="Erin Taylor" userId="c09af165-50a0-4a78-8b32-79b157be4bff" providerId="ADAL" clId="{02394A34-4FC4-4343-AB76-17C9AC10141B}" dt="2020-10-29T17:14:16.568" v="906" actId="6549"/>
          <ac:graphicFrameMkLst>
            <pc:docMk/>
            <pc:sldMk cId="883325208" sldId="1480"/>
            <ac:graphicFrameMk id="7" creationId="{CF7DF3CA-4D0E-4A94-BB91-3ABCE2323C64}"/>
          </ac:graphicFrameMkLst>
        </pc:graphicFrameChg>
      </pc:sldChg>
      <pc:sldChg chg="addSp delSp modSp add mod">
        <pc:chgData name="Erin Taylor" userId="c09af165-50a0-4a78-8b32-79b157be4bff" providerId="ADAL" clId="{02394A34-4FC4-4343-AB76-17C9AC10141B}" dt="2020-10-29T17:31:41.113" v="1555" actId="1076"/>
        <pc:sldMkLst>
          <pc:docMk/>
          <pc:sldMk cId="1541576896" sldId="1481"/>
        </pc:sldMkLst>
        <pc:spChg chg="mod">
          <ac:chgData name="Erin Taylor" userId="c09af165-50a0-4a78-8b32-79b157be4bff" providerId="ADAL" clId="{02394A34-4FC4-4343-AB76-17C9AC10141B}" dt="2020-10-29T17:18:32.900" v="954" actId="20577"/>
          <ac:spMkLst>
            <pc:docMk/>
            <pc:sldMk cId="1541576896" sldId="1481"/>
            <ac:spMk id="3" creationId="{3DDF3C43-1B02-4850-9B9B-07DB523DC5AA}"/>
          </ac:spMkLst>
        </pc:spChg>
        <pc:spChg chg="add mod">
          <ac:chgData name="Erin Taylor" userId="c09af165-50a0-4a78-8b32-79b157be4bff" providerId="ADAL" clId="{02394A34-4FC4-4343-AB76-17C9AC10141B}" dt="2020-10-29T17:24:54.632" v="1232" actId="1076"/>
          <ac:spMkLst>
            <pc:docMk/>
            <pc:sldMk cId="1541576896" sldId="1481"/>
            <ac:spMk id="8" creationId="{C68417FC-DE48-4EF2-8C84-EEECFB6790F0}"/>
          </ac:spMkLst>
        </pc:spChg>
        <pc:graphicFrameChg chg="add del mod modGraphic">
          <ac:chgData name="Erin Taylor" userId="c09af165-50a0-4a78-8b32-79b157be4bff" providerId="ADAL" clId="{02394A34-4FC4-4343-AB76-17C9AC10141B}" dt="2020-10-29T17:13:03.225" v="880" actId="21"/>
          <ac:graphicFrameMkLst>
            <pc:docMk/>
            <pc:sldMk cId="1541576896" sldId="1481"/>
            <ac:graphicFrameMk id="5" creationId="{51EC557F-6195-4DE3-9369-C04E33DE2102}"/>
          </ac:graphicFrameMkLst>
        </pc:graphicFrameChg>
        <pc:graphicFrameChg chg="add mod modGraphic">
          <ac:chgData name="Erin Taylor" userId="c09af165-50a0-4a78-8b32-79b157be4bff" providerId="ADAL" clId="{02394A34-4FC4-4343-AB76-17C9AC10141B}" dt="2020-10-29T17:31:41.113" v="1555" actId="1076"/>
          <ac:graphicFrameMkLst>
            <pc:docMk/>
            <pc:sldMk cId="1541576896" sldId="1481"/>
            <ac:graphicFrameMk id="7" creationId="{5D50B392-E111-4064-B983-4DDEC2E31632}"/>
          </ac:graphicFrameMkLst>
        </pc:graphicFrameChg>
      </pc:sldChg>
      <pc:sldChg chg="new del">
        <pc:chgData name="Erin Taylor" userId="c09af165-50a0-4a78-8b32-79b157be4bff" providerId="ADAL" clId="{02394A34-4FC4-4343-AB76-17C9AC10141B}" dt="2020-10-28T21:19:22.453" v="454" actId="680"/>
        <pc:sldMkLst>
          <pc:docMk/>
          <pc:sldMk cId="2603033201" sldId="1481"/>
        </pc:sldMkLst>
      </pc:sldChg>
      <pc:sldChg chg="delSp modSp add mod">
        <pc:chgData name="Erin Taylor" userId="c09af165-50a0-4a78-8b32-79b157be4bff" providerId="ADAL" clId="{02394A34-4FC4-4343-AB76-17C9AC10141B}" dt="2020-10-29T17:31:06.451" v="1543" actId="14100"/>
        <pc:sldMkLst>
          <pc:docMk/>
          <pc:sldMk cId="1010717276" sldId="1482"/>
        </pc:sldMkLst>
        <pc:spChg chg="mod">
          <ac:chgData name="Erin Taylor" userId="c09af165-50a0-4a78-8b32-79b157be4bff" providerId="ADAL" clId="{02394A34-4FC4-4343-AB76-17C9AC10141B}" dt="2020-10-29T17:25:12.530" v="1257" actId="114"/>
          <ac:spMkLst>
            <pc:docMk/>
            <pc:sldMk cId="1010717276" sldId="1482"/>
            <ac:spMk id="3" creationId="{3DDF3C43-1B02-4850-9B9B-07DB523DC5AA}"/>
          </ac:spMkLst>
        </pc:spChg>
        <pc:spChg chg="del">
          <ac:chgData name="Erin Taylor" userId="c09af165-50a0-4a78-8b32-79b157be4bff" providerId="ADAL" clId="{02394A34-4FC4-4343-AB76-17C9AC10141B}" dt="2020-10-29T17:28:44.799" v="1474" actId="478"/>
          <ac:spMkLst>
            <pc:docMk/>
            <pc:sldMk cId="1010717276" sldId="1482"/>
            <ac:spMk id="8" creationId="{C68417FC-DE48-4EF2-8C84-EEECFB6790F0}"/>
          </ac:spMkLst>
        </pc:spChg>
        <pc:graphicFrameChg chg="mod modGraphic">
          <ac:chgData name="Erin Taylor" userId="c09af165-50a0-4a78-8b32-79b157be4bff" providerId="ADAL" clId="{02394A34-4FC4-4343-AB76-17C9AC10141B}" dt="2020-10-29T17:31:06.451" v="1543" actId="14100"/>
          <ac:graphicFrameMkLst>
            <pc:docMk/>
            <pc:sldMk cId="1010717276" sldId="1482"/>
            <ac:graphicFrameMk id="7" creationId="{5D50B392-E111-4064-B983-4DDEC2E31632}"/>
          </ac:graphicFrameMkLst>
        </pc:graphicFrameChg>
      </pc:sldChg>
      <pc:sldChg chg="delSp modSp add mod">
        <pc:chgData name="Erin Taylor" userId="c09af165-50a0-4a78-8b32-79b157be4bff" providerId="ADAL" clId="{02394A34-4FC4-4343-AB76-17C9AC10141B}" dt="2020-10-29T17:30:59.732" v="1541" actId="14100"/>
        <pc:sldMkLst>
          <pc:docMk/>
          <pc:sldMk cId="420504235" sldId="1483"/>
        </pc:sldMkLst>
        <pc:spChg chg="mod">
          <ac:chgData name="Erin Taylor" userId="c09af165-50a0-4a78-8b32-79b157be4bff" providerId="ADAL" clId="{02394A34-4FC4-4343-AB76-17C9AC10141B}" dt="2020-10-29T17:25:52.200" v="1299" actId="20577"/>
          <ac:spMkLst>
            <pc:docMk/>
            <pc:sldMk cId="420504235" sldId="1483"/>
            <ac:spMk id="3" creationId="{3DDF3C43-1B02-4850-9B9B-07DB523DC5AA}"/>
          </ac:spMkLst>
        </pc:spChg>
        <pc:spChg chg="del">
          <ac:chgData name="Erin Taylor" userId="c09af165-50a0-4a78-8b32-79b157be4bff" providerId="ADAL" clId="{02394A34-4FC4-4343-AB76-17C9AC10141B}" dt="2020-10-29T17:28:56.814" v="1475" actId="478"/>
          <ac:spMkLst>
            <pc:docMk/>
            <pc:sldMk cId="420504235" sldId="1483"/>
            <ac:spMk id="8" creationId="{C68417FC-DE48-4EF2-8C84-EEECFB6790F0}"/>
          </ac:spMkLst>
        </pc:spChg>
        <pc:graphicFrameChg chg="mod modGraphic">
          <ac:chgData name="Erin Taylor" userId="c09af165-50a0-4a78-8b32-79b157be4bff" providerId="ADAL" clId="{02394A34-4FC4-4343-AB76-17C9AC10141B}" dt="2020-10-29T17:30:59.732" v="1541" actId="14100"/>
          <ac:graphicFrameMkLst>
            <pc:docMk/>
            <pc:sldMk cId="420504235" sldId="1483"/>
            <ac:graphicFrameMk id="7" creationId="{5D50B392-E111-4064-B983-4DDEC2E31632}"/>
          </ac:graphicFrameMkLst>
        </pc:graphicFrameChg>
      </pc:sldChg>
      <pc:sldChg chg="modSp add mod">
        <pc:chgData name="Erin Taylor" userId="c09af165-50a0-4a78-8b32-79b157be4bff" providerId="ADAL" clId="{02394A34-4FC4-4343-AB76-17C9AC10141B}" dt="2020-10-29T17:34:00.139" v="1635" actId="1076"/>
        <pc:sldMkLst>
          <pc:docMk/>
          <pc:sldMk cId="371369651" sldId="1484"/>
        </pc:sldMkLst>
        <pc:spChg chg="mod">
          <ac:chgData name="Erin Taylor" userId="c09af165-50a0-4a78-8b32-79b157be4bff" providerId="ADAL" clId="{02394A34-4FC4-4343-AB76-17C9AC10141B}" dt="2020-10-29T17:28:06.676" v="1466" actId="6549"/>
          <ac:spMkLst>
            <pc:docMk/>
            <pc:sldMk cId="371369651" sldId="1484"/>
            <ac:spMk id="3" creationId="{3DDF3C43-1B02-4850-9B9B-07DB523DC5AA}"/>
          </ac:spMkLst>
        </pc:spChg>
        <pc:spChg chg="mod">
          <ac:chgData name="Erin Taylor" userId="c09af165-50a0-4a78-8b32-79b157be4bff" providerId="ADAL" clId="{02394A34-4FC4-4343-AB76-17C9AC10141B}" dt="2020-10-29T17:29:45.125" v="1488" actId="20577"/>
          <ac:spMkLst>
            <pc:docMk/>
            <pc:sldMk cId="371369651" sldId="1484"/>
            <ac:spMk id="8" creationId="{C68417FC-DE48-4EF2-8C84-EEECFB6790F0}"/>
          </ac:spMkLst>
        </pc:spChg>
        <pc:graphicFrameChg chg="mod modGraphic">
          <ac:chgData name="Erin Taylor" userId="c09af165-50a0-4a78-8b32-79b157be4bff" providerId="ADAL" clId="{02394A34-4FC4-4343-AB76-17C9AC10141B}" dt="2020-10-29T17:34:00.139" v="1635" actId="1076"/>
          <ac:graphicFrameMkLst>
            <pc:docMk/>
            <pc:sldMk cId="371369651" sldId="1484"/>
            <ac:graphicFrameMk id="7" creationId="{5D50B392-E111-4064-B983-4DDEC2E31632}"/>
          </ac:graphicFrameMkLst>
        </pc:graphicFrame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4B481253-7591-4523-955E-F80A848495CF}" type="datetimeFigureOut">
              <a:rPr lang="en-US" smtClean="0"/>
              <a:t>11/20/2020</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09DC8BEB-EE67-441D-A873-0468255F46D5}" type="slidenum">
              <a:rPr lang="en-US" smtClean="0"/>
              <a:t>‹#›</a:t>
            </a:fld>
            <a:endParaRPr lang="en-US"/>
          </a:p>
        </p:txBody>
      </p:sp>
    </p:spTree>
    <p:extLst>
      <p:ext uri="{BB962C8B-B14F-4D97-AF65-F5344CB8AC3E}">
        <p14:creationId xmlns:p14="http://schemas.microsoft.com/office/powerpoint/2010/main" val="26098597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6E87F2B8-DAB1-4BB7-AA03-13CA34FE8FA5}" type="datetimeFigureOut">
              <a:rPr lang="en-US" smtClean="0"/>
              <a:t>11/20/2020</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1"/>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99B7833D-D0AA-4DCD-A1FD-49E43A30758C}" type="slidenum">
              <a:rPr lang="en-US" smtClean="0"/>
              <a:t>‹#›</a:t>
            </a:fld>
            <a:endParaRPr lang="en-US"/>
          </a:p>
        </p:txBody>
      </p:sp>
    </p:spTree>
    <p:extLst>
      <p:ext uri="{BB962C8B-B14F-4D97-AF65-F5344CB8AC3E}">
        <p14:creationId xmlns:p14="http://schemas.microsoft.com/office/powerpoint/2010/main" val="22108048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9B7833D-D0AA-4DCD-A1FD-49E43A30758C}" type="slidenum">
              <a:rPr lang="en-US" smtClean="0"/>
              <a:t>1</a:t>
            </a:fld>
            <a:endParaRPr lang="en-US"/>
          </a:p>
        </p:txBody>
      </p:sp>
    </p:spTree>
    <p:extLst>
      <p:ext uri="{BB962C8B-B14F-4D97-AF65-F5344CB8AC3E}">
        <p14:creationId xmlns:p14="http://schemas.microsoft.com/office/powerpoint/2010/main" val="19366355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9B7833D-D0AA-4DCD-A1FD-49E43A30758C}" type="slidenum">
              <a:rPr lang="en-US" smtClean="0"/>
              <a:t>37</a:t>
            </a:fld>
            <a:endParaRPr lang="en-US"/>
          </a:p>
        </p:txBody>
      </p:sp>
    </p:spTree>
    <p:extLst>
      <p:ext uri="{BB962C8B-B14F-4D97-AF65-F5344CB8AC3E}">
        <p14:creationId xmlns:p14="http://schemas.microsoft.com/office/powerpoint/2010/main" val="26068888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9B7833D-D0AA-4DCD-A1FD-49E43A30758C}" type="slidenum">
              <a:rPr lang="en-US" smtClean="0"/>
              <a:t>38</a:t>
            </a:fld>
            <a:endParaRPr lang="en-US"/>
          </a:p>
        </p:txBody>
      </p:sp>
    </p:spTree>
    <p:extLst>
      <p:ext uri="{BB962C8B-B14F-4D97-AF65-F5344CB8AC3E}">
        <p14:creationId xmlns:p14="http://schemas.microsoft.com/office/powerpoint/2010/main" val="1100728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3.vml"/><Relationship Id="rId6" Type="http://schemas.openxmlformats.org/officeDocument/2006/relationships/image" Target="../media/image6.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4.vml"/><Relationship Id="rId5" Type="http://schemas.openxmlformats.org/officeDocument/2006/relationships/image" Target="../media/image9.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5.vml"/><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6.vml"/><Relationship Id="rId5" Type="http://schemas.openxmlformats.org/officeDocument/2006/relationships/image" Target="../media/image10.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lvl1pPr>
              <a:defRPr sz="2400">
                <a:latin typeface="Book Antiqua" pitchFamily="18" charset="0"/>
                <a:cs typeface="Book Antiqua" pitchFamily="18" charset="0"/>
              </a:defRPr>
            </a:lvl1pPr>
          </a:lstStyle>
          <a:p>
            <a:r>
              <a:rPr lang="en-US"/>
              <a:t>Click to edit Master title style</a:t>
            </a:r>
          </a:p>
        </p:txBody>
      </p:sp>
      <p:sp>
        <p:nvSpPr>
          <p:cNvPr id="6" name="Content Placeholder 7"/>
          <p:cNvSpPr>
            <a:spLocks noGrp="1"/>
          </p:cNvSpPr>
          <p:nvPr>
            <p:ph sz="half" idx="1"/>
          </p:nvPr>
        </p:nvSpPr>
        <p:spPr>
          <a:xfrm>
            <a:off x="533400" y="1371600"/>
            <a:ext cx="8077200" cy="4556234"/>
          </a:xfrm>
          <a:ln w="6350" cmpd="sng"/>
        </p:spPr>
        <p:txBody>
          <a:bodyPr/>
          <a:lstStyle>
            <a:lvl1pPr>
              <a:buClrTx/>
              <a:buSzPct val="100000"/>
              <a:defRPr sz="2000">
                <a:solidFill>
                  <a:schemeClr val="tx1"/>
                </a:solidFill>
                <a:latin typeface="Book Antiqua" pitchFamily="18" charset="0"/>
              </a:defRPr>
            </a:lvl1pPr>
            <a:lvl2pPr>
              <a:buClrTx/>
              <a:buSzPct val="100000"/>
              <a:buFont typeface="Arial" pitchFamily="34" charset="0"/>
              <a:buChar char="•"/>
              <a:defRPr sz="2000">
                <a:solidFill>
                  <a:schemeClr val="tx1"/>
                </a:solidFill>
                <a:latin typeface="Book Antiqua" pitchFamily="18" charset="0"/>
              </a:defRPr>
            </a:lvl2pPr>
            <a:lvl3pPr>
              <a:buNone/>
              <a:defRPr/>
            </a:lvl3pPr>
          </a:lstStyle>
          <a:p>
            <a:pPr lvl="0"/>
            <a:r>
              <a:rPr lang="en-US"/>
              <a:t>Edit Master text styles</a:t>
            </a:r>
          </a:p>
          <a:p>
            <a:pPr lvl="1"/>
            <a:r>
              <a:rPr lang="en-US"/>
              <a:t>Second level</a:t>
            </a:r>
          </a:p>
        </p:txBody>
      </p:sp>
      <p:sp>
        <p:nvSpPr>
          <p:cNvPr id="4" name="TextBox 3"/>
          <p:cNvSpPr txBox="1"/>
          <p:nvPr userDrawn="1"/>
        </p:nvSpPr>
        <p:spPr>
          <a:xfrm rot="16200000">
            <a:off x="-2008187" y="2961790"/>
            <a:ext cx="4254500" cy="215444"/>
          </a:xfrm>
          <a:prstGeom prst="rect">
            <a:avLst/>
          </a:prstGeom>
          <a:noFill/>
        </p:spPr>
        <p:txBody>
          <a:bodyPr wrap="square" rtlCol="0">
            <a:spAutoFit/>
          </a:bodyPr>
          <a:lstStyle/>
          <a:p>
            <a:pPr algn="ctr"/>
            <a:r>
              <a:rPr lang="en-US" sz="800" b="0" cap="all" baseline="0"/>
              <a:t>Confidential WORKING draft – policy IN DEVELOPMENT</a:t>
            </a:r>
          </a:p>
        </p:txBody>
      </p:sp>
    </p:spTree>
    <p:extLst>
      <p:ext uri="{BB962C8B-B14F-4D97-AF65-F5344CB8AC3E}">
        <p14:creationId xmlns:p14="http://schemas.microsoft.com/office/powerpoint/2010/main" val="1223803224"/>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1_Title Slide">
    <p:bg>
      <p:bgPr>
        <a:solidFill>
          <a:schemeClr val="bg1"/>
        </a:solidFill>
        <a:effectLst/>
      </p:bgPr>
    </p:bg>
    <p:spTree>
      <p:nvGrpSpPr>
        <p:cNvPr id="1" name=""/>
        <p:cNvGrpSpPr/>
        <p:nvPr/>
      </p:nvGrpSpPr>
      <p:grpSpPr>
        <a:xfrm>
          <a:off x="0" y="0"/>
          <a:ext cx="0" cy="0"/>
          <a:chOff x="0" y="0"/>
          <a:chExt cx="0" cy="0"/>
        </a:xfrm>
      </p:grpSpPr>
      <p:pic>
        <p:nvPicPr>
          <p:cNvPr id="3200002" name="Picture 2" descr="Picture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638" y="-6350"/>
            <a:ext cx="9188451" cy="6864350"/>
          </a:xfrm>
          <a:prstGeom prst="rect">
            <a:avLst/>
          </a:prstGeom>
          <a:noFill/>
          <a:extLst>
            <a:ext uri="{909E8E84-426E-40DD-AFC4-6F175D3DCCD1}">
              <a14:hiddenFill xmlns:a14="http://schemas.microsoft.com/office/drawing/2010/main">
                <a:solidFill>
                  <a:srgbClr val="FFFFFF"/>
                </a:solidFill>
              </a14:hiddenFill>
            </a:ext>
          </a:extLst>
        </p:spPr>
      </p:pic>
      <p:sp>
        <p:nvSpPr>
          <p:cNvPr id="3200003" name="Rectangle 3"/>
          <p:cNvSpPr>
            <a:spLocks noGrp="1" noChangeArrowheads="1"/>
          </p:cNvSpPr>
          <p:nvPr>
            <p:ph type="subTitle" sz="quarter" idx="1"/>
          </p:nvPr>
        </p:nvSpPr>
        <p:spPr>
          <a:xfrm>
            <a:off x="4267201" y="3124200"/>
            <a:ext cx="4667250" cy="1568257"/>
          </a:xfrm>
        </p:spPr>
        <p:txBody>
          <a:bodyPr lIns="91430" tIns="45716" rIns="91430" bIns="45716"/>
          <a:lstStyle>
            <a:lvl1pPr marL="0" indent="0" algn="r">
              <a:defRPr sz="2800">
                <a:solidFill>
                  <a:srgbClr val="003366"/>
                </a:solidFill>
              </a:defRPr>
            </a:lvl1pPr>
            <a:lvl2pPr lvl="1" algn="r">
              <a:defRPr sz="2000">
                <a:solidFill>
                  <a:schemeClr val="tx2"/>
                </a:solidFill>
              </a:defRPr>
            </a:lvl2pPr>
            <a:lvl3pPr lvl="2" algn="r">
              <a:defRPr sz="2000">
                <a:solidFill>
                  <a:schemeClr val="tx2"/>
                </a:solidFill>
              </a:defRPr>
            </a:lvl3pPr>
          </a:lstStyle>
          <a:p>
            <a:pPr lvl="0"/>
            <a:r>
              <a:rPr lang="en-US" noProof="0"/>
              <a:t>Click to edit Master subtitle style</a:t>
            </a:r>
          </a:p>
        </p:txBody>
      </p:sp>
      <p:sp>
        <p:nvSpPr>
          <p:cNvPr id="3200006" name="Rectangle 6"/>
          <p:cNvSpPr>
            <a:spLocks noChangeArrowheads="1"/>
          </p:cNvSpPr>
          <p:nvPr userDrawn="1"/>
        </p:nvSpPr>
        <p:spPr bwMode="white">
          <a:xfrm>
            <a:off x="152400" y="1143000"/>
            <a:ext cx="4495800" cy="2057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6" rIns="91430" bIns="45716" anchor="b"/>
          <a:lstStyle/>
          <a:p>
            <a:pPr eaLnBrk="0" fontAlgn="base" hangingPunct="0">
              <a:spcBef>
                <a:spcPct val="20000"/>
              </a:spcBef>
              <a:spcAft>
                <a:spcPct val="0"/>
              </a:spcAft>
              <a:tabLst>
                <a:tab pos="915891" algn="l"/>
              </a:tabLst>
            </a:pPr>
            <a:r>
              <a:rPr lang="en-US" altLang="en-US" sz="2800" b="1">
                <a:solidFill>
                  <a:srgbClr val="F8F8F8"/>
                </a:solidFill>
              </a:rPr>
              <a:t>Commonwealth of Massachusetts</a:t>
            </a:r>
            <a:br>
              <a:rPr lang="en-US" altLang="en-US" sz="2800" b="1">
                <a:solidFill>
                  <a:srgbClr val="F8F8F8"/>
                </a:solidFill>
              </a:rPr>
            </a:br>
            <a:r>
              <a:rPr lang="en-US" altLang="en-US" sz="1900" b="1">
                <a:solidFill>
                  <a:srgbClr val="F8F8F8"/>
                </a:solidFill>
              </a:rPr>
              <a:t>Executive Office of Health and Human Services</a:t>
            </a:r>
            <a:br>
              <a:rPr lang="en-US" altLang="en-US" sz="1900" b="1">
                <a:solidFill>
                  <a:srgbClr val="F8F8F8"/>
                </a:solidFill>
              </a:rPr>
            </a:br>
            <a:br>
              <a:rPr lang="en-US" altLang="en-US" sz="1900" b="1">
                <a:solidFill>
                  <a:srgbClr val="F8F8F8"/>
                </a:solidFill>
              </a:rPr>
            </a:br>
            <a:endParaRPr lang="en-US" sz="2800" b="1">
              <a:solidFill>
                <a:srgbClr val="F8F8F8"/>
              </a:solidFill>
            </a:endParaRPr>
          </a:p>
        </p:txBody>
      </p:sp>
      <p:pic>
        <p:nvPicPr>
          <p:cNvPr id="6" name="Picture 5"/>
          <p:cNvPicPr>
            <a:picLocks noChangeAspect="1"/>
          </p:cNvPicPr>
          <p:nvPr userDrawn="1"/>
        </p:nvPicPr>
        <p:blipFill>
          <a:blip r:embed="rId3"/>
          <a:stretch>
            <a:fillRect/>
          </a:stretch>
        </p:blipFill>
        <p:spPr>
          <a:xfrm>
            <a:off x="7189955" y="457200"/>
            <a:ext cx="1934480" cy="1934480"/>
          </a:xfrm>
          <a:prstGeom prst="rect">
            <a:avLst/>
          </a:prstGeom>
        </p:spPr>
      </p:pic>
    </p:spTree>
    <p:extLst>
      <p:ext uri="{BB962C8B-B14F-4D97-AF65-F5344CB8AC3E}">
        <p14:creationId xmlns:p14="http://schemas.microsoft.com/office/powerpoint/2010/main" val="4263729115"/>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38696606"/>
              </p:ext>
            </p:extLst>
          </p:nvPr>
        </p:nvGraphicFramePr>
        <p:xfrm>
          <a:off x="1665" y="1665"/>
          <a:ext cx="1619" cy="1619"/>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665" y="1665"/>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1298"/>
            <a:ext cx="5036085" cy="500502"/>
            <a:chOff x="1663" y="3104"/>
            <a:chExt cx="3109" cy="309"/>
          </a:xfrm>
        </p:grpSpPr>
        <p:sp>
          <p:nvSpPr>
            <p:cNvPr id="9" name="McK 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000000"/>
                  </a:solidFill>
                  <a:latin typeface="Arial"/>
                </a:rPr>
                <a:t>Document type</a:t>
              </a:r>
            </a:p>
          </p:txBody>
        </p:sp>
        <p:sp>
          <p:nvSpPr>
            <p:cNvPr id="10" name="McK 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000000"/>
                  </a:solidFill>
                  <a:latin typeface="Arial"/>
                </a:rPr>
                <a:t>Date</a:t>
              </a:r>
            </a:p>
          </p:txBody>
        </p:sp>
      </p:grpSp>
      <p:sp>
        <p:nvSpPr>
          <p:cNvPr id="13314" name="Rectangle 1026"/>
          <p:cNvSpPr>
            <a:spLocks noGrp="1" noChangeArrowheads="1"/>
          </p:cNvSpPr>
          <p:nvPr>
            <p:ph type="ctrTitle"/>
          </p:nvPr>
        </p:nvSpPr>
        <p:spPr bwMode="auto">
          <a:xfrm>
            <a:off x="2693840" y="2648285"/>
            <a:ext cx="5539245" cy="507831"/>
          </a:xfrm>
          <a:prstGeom prst="rect">
            <a:avLst/>
          </a:prstGeom>
        </p:spPr>
        <p:txBody>
          <a:bodyPr anchor="b">
            <a:spAutoFit/>
          </a:bodyPr>
          <a:lstStyle>
            <a:lvl1pPr>
              <a:defRPr sz="3265" b="0" baseline="0">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2693840" y="3770660"/>
            <a:ext cx="5539245" cy="219820"/>
          </a:xfrm>
        </p:spPr>
        <p:txBody>
          <a:bodyPr>
            <a:spAutoFit/>
          </a:bodyPr>
          <a:lstStyle>
            <a:lvl1pPr>
              <a:defRPr sz="1428" baseline="0">
                <a:latin typeface="+mn-lt"/>
                <a:ea typeface="+mn-ea"/>
              </a:defRPr>
            </a:lvl1pPr>
          </a:lstStyle>
          <a:p>
            <a:pPr lvl="0"/>
            <a:r>
              <a:rPr lang="en-US" noProof="0"/>
              <a:t>Click to edit Master subtitle style</a:t>
            </a:r>
          </a:p>
        </p:txBody>
      </p:sp>
      <p:sp>
        <p:nvSpPr>
          <p:cNvPr id="12" name="TitleTopPlaceholder"/>
          <p:cNvSpPr>
            <a:spLocks noChangeArrowheads="1"/>
          </p:cNvSpPr>
          <p:nvPr/>
        </p:nvSpPr>
        <p:spPr bwMode="ltGray">
          <a:xfrm>
            <a:off x="2125668" y="3246013"/>
            <a:ext cx="2293946" cy="437329"/>
          </a:xfrm>
          <a:prstGeom prst="rect">
            <a:avLst/>
          </a:prstGeom>
          <a:solidFill>
            <a:schemeClr val="accent4">
              <a:alpha val="77000"/>
            </a:scheme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
        <p:nvSpPr>
          <p:cNvPr id="13" name="TitleTopPlaceholder"/>
          <p:cNvSpPr>
            <a:spLocks noChangeArrowheads="1"/>
          </p:cNvSpPr>
          <p:nvPr/>
        </p:nvSpPr>
        <p:spPr bwMode="ltGray">
          <a:xfrm>
            <a:off x="1" y="3245986"/>
            <a:ext cx="2125653" cy="436455"/>
          </a:xfrm>
          <a:prstGeom prst="rect">
            <a:avLst/>
          </a:prstGeom>
          <a:solidFill>
            <a:srgbClr val="FFC000">
              <a:alpha val="80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
        <p:nvSpPr>
          <p:cNvPr id="14" name="TitleTopPlaceholder"/>
          <p:cNvSpPr>
            <a:spLocks noChangeArrowheads="1"/>
          </p:cNvSpPr>
          <p:nvPr/>
        </p:nvSpPr>
        <p:spPr bwMode="ltGray">
          <a:xfrm>
            <a:off x="3886006" y="3246012"/>
            <a:ext cx="5257994" cy="437331"/>
          </a:xfrm>
          <a:prstGeom prst="rect">
            <a:avLst/>
          </a:prstGeom>
          <a:solidFill>
            <a:srgbClr val="009900">
              <a:alpha val="69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70" y="2029647"/>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10675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20137329"/>
              </p:ext>
            </p:extLst>
          </p:nvPr>
        </p:nvGraphicFramePr>
        <p:xfrm>
          <a:off x="1665" y="1665"/>
          <a:ext cx="1619" cy="1619"/>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665" y="1665"/>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1298"/>
            <a:ext cx="5036085" cy="500502"/>
            <a:chOff x="1663" y="3104"/>
            <a:chExt cx="3109" cy="309"/>
          </a:xfrm>
        </p:grpSpPr>
        <p:sp>
          <p:nvSpPr>
            <p:cNvPr id="9" name="McK 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000000"/>
                  </a:solidFill>
                  <a:latin typeface="Arial"/>
                </a:rPr>
                <a:t>Document type</a:t>
              </a:r>
            </a:p>
          </p:txBody>
        </p:sp>
        <p:sp>
          <p:nvSpPr>
            <p:cNvPr id="10" name="McK 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000000"/>
                  </a:solidFill>
                  <a:latin typeface="Arial"/>
                </a:rPr>
                <a:t>Date</a:t>
              </a:r>
            </a:p>
          </p:txBody>
        </p:sp>
      </p:grpSp>
      <p:sp>
        <p:nvSpPr>
          <p:cNvPr id="13314" name="Rectangle 1026"/>
          <p:cNvSpPr>
            <a:spLocks noGrp="1" noChangeArrowheads="1"/>
          </p:cNvSpPr>
          <p:nvPr>
            <p:ph type="ctrTitle" hasCustomPrompt="1"/>
          </p:nvPr>
        </p:nvSpPr>
        <p:spPr bwMode="auto">
          <a:xfrm>
            <a:off x="592295" y="2591192"/>
            <a:ext cx="5539245" cy="507831"/>
          </a:xfrm>
          <a:prstGeom prst="rect">
            <a:avLst/>
          </a:prstGeom>
        </p:spPr>
        <p:txBody>
          <a:bodyPr anchor="b">
            <a:spAutoFit/>
          </a:bodyPr>
          <a:lstStyle>
            <a:lvl1pPr>
              <a:defRPr sz="3265" b="0" baseline="0">
                <a:latin typeface="+mj-lt"/>
                <a:ea typeface="+mj-ea"/>
              </a:defRPr>
            </a:lvl1pPr>
          </a:lstStyle>
          <a:p>
            <a:pPr lvl="0"/>
            <a:r>
              <a:rPr lang="en-US" noProof="0"/>
              <a:t>Title</a:t>
            </a:r>
          </a:p>
        </p:txBody>
      </p:sp>
      <p:sp>
        <p:nvSpPr>
          <p:cNvPr id="12" name="TitleTopPlaceholder"/>
          <p:cNvSpPr>
            <a:spLocks noChangeArrowheads="1"/>
          </p:cNvSpPr>
          <p:nvPr/>
        </p:nvSpPr>
        <p:spPr bwMode="ltGray">
          <a:xfrm>
            <a:off x="2125668" y="3246013"/>
            <a:ext cx="2293946" cy="437329"/>
          </a:xfrm>
          <a:prstGeom prst="rect">
            <a:avLst/>
          </a:prstGeom>
          <a:solidFill>
            <a:schemeClr val="accent4">
              <a:alpha val="77000"/>
            </a:scheme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
        <p:nvSpPr>
          <p:cNvPr id="13" name="TitleTopPlaceholder"/>
          <p:cNvSpPr>
            <a:spLocks noChangeArrowheads="1"/>
          </p:cNvSpPr>
          <p:nvPr/>
        </p:nvSpPr>
        <p:spPr bwMode="ltGray">
          <a:xfrm>
            <a:off x="1" y="3245986"/>
            <a:ext cx="2125653" cy="436455"/>
          </a:xfrm>
          <a:prstGeom prst="rect">
            <a:avLst/>
          </a:prstGeom>
          <a:solidFill>
            <a:srgbClr val="FFC000">
              <a:alpha val="80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
        <p:nvSpPr>
          <p:cNvPr id="14" name="TitleTopPlaceholder"/>
          <p:cNvSpPr>
            <a:spLocks noChangeArrowheads="1"/>
          </p:cNvSpPr>
          <p:nvPr/>
        </p:nvSpPr>
        <p:spPr bwMode="ltGray">
          <a:xfrm>
            <a:off x="3886006" y="3246012"/>
            <a:ext cx="5257994" cy="437331"/>
          </a:xfrm>
          <a:prstGeom prst="rect">
            <a:avLst/>
          </a:prstGeom>
          <a:solidFill>
            <a:srgbClr val="009900">
              <a:alpha val="69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pic>
        <p:nvPicPr>
          <p:cNvPr id="16"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17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7033018"/>
              </p:ext>
            </p:extLst>
          </p:nvPr>
        </p:nvGraphicFramePr>
        <p:xfrm>
          <a:off x="1632" y="1632"/>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632" y="163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869759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72826375"/>
              </p:ext>
            </p:extLst>
          </p:nvPr>
        </p:nvGraphicFramePr>
        <p:xfrm>
          <a:off x="1632" y="1632"/>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360" imgH="360" progId="TCLayout.ActiveDocument.1">
                  <p:embed/>
                </p:oleObj>
              </mc:Choice>
              <mc:Fallback>
                <p:oleObj name="think-cell Slide" r:id="rId4" imgW="360" imgH="360" progId="TCLayout.ActiveDocument.1">
                  <p:embed/>
                  <p:pic>
                    <p:nvPicPr>
                      <p:cNvPr id="3" name="Object 2" hidden="1"/>
                      <p:cNvPicPr/>
                      <p:nvPr/>
                    </p:nvPicPr>
                    <p:blipFill>
                      <a:blip r:embed="rId5"/>
                      <a:stretch>
                        <a:fillRect/>
                      </a:stretch>
                    </p:blipFill>
                    <p:spPr>
                      <a:xfrm>
                        <a:off x="1632" y="1632"/>
                        <a:ext cx="1587" cy="1587"/>
                      </a:xfrm>
                      <a:prstGeom prst="rect">
                        <a:avLst/>
                      </a:prstGeom>
                    </p:spPr>
                  </p:pic>
                </p:oleObj>
              </mc:Fallback>
            </mc:AlternateContent>
          </a:graphicData>
        </a:graphic>
      </p:graphicFrame>
      <p:sp>
        <p:nvSpPr>
          <p:cNvPr id="4" name="Holder 2"/>
          <p:cNvSpPr>
            <a:spLocks noGrp="1"/>
          </p:cNvSpPr>
          <p:nvPr>
            <p:ph type="title"/>
          </p:nvPr>
        </p:nvSpPr>
        <p:spPr>
          <a:xfrm>
            <a:off x="259090" y="252471"/>
            <a:ext cx="8053675" cy="298327"/>
          </a:xfrm>
        </p:spPr>
        <p:txBody>
          <a:bodyPr lIns="0" tIns="0" rIns="0" bIns="0"/>
          <a:lstStyle/>
          <a:p>
            <a:endParaRPr/>
          </a:p>
        </p:txBody>
      </p:sp>
    </p:spTree>
    <p:extLst>
      <p:ext uri="{BB962C8B-B14F-4D97-AF65-F5344CB8AC3E}">
        <p14:creationId xmlns:p14="http://schemas.microsoft.com/office/powerpoint/2010/main" val="20325503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91901367"/>
              </p:ext>
            </p:extLst>
          </p:nvPr>
        </p:nvGraphicFramePr>
        <p:xfrm>
          <a:off x="1632" y="1632"/>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360" imgH="360" progId="TCLayout.ActiveDocument.1">
                  <p:embed/>
                </p:oleObj>
              </mc:Choice>
              <mc:Fallback>
                <p:oleObj name="think-cell Slide" r:id="rId4" imgW="360" imgH="360" progId="TCLayout.ActiveDocument.1">
                  <p:embed/>
                  <p:pic>
                    <p:nvPicPr>
                      <p:cNvPr id="4" name="Object 3" hidden="1"/>
                      <p:cNvPicPr/>
                      <p:nvPr/>
                    </p:nvPicPr>
                    <p:blipFill>
                      <a:blip r:embed="rId5"/>
                      <a:stretch>
                        <a:fillRect/>
                      </a:stretch>
                    </p:blipFill>
                    <p:spPr>
                      <a:xfrm>
                        <a:off x="1632" y="1632"/>
                        <a:ext cx="1587" cy="1587"/>
                      </a:xfrm>
                      <a:prstGeom prst="rect">
                        <a:avLst/>
                      </a:prstGeom>
                    </p:spPr>
                  </p:pic>
                </p:oleObj>
              </mc:Fallback>
            </mc:AlternateContent>
          </a:graphicData>
        </a:graphic>
      </p:graphicFrame>
      <p:sp>
        <p:nvSpPr>
          <p:cNvPr id="2" name="Holder 2"/>
          <p:cNvSpPr>
            <a:spLocks noGrp="1"/>
          </p:cNvSpPr>
          <p:nvPr>
            <p:ph type="title"/>
          </p:nvPr>
        </p:nvSpPr>
        <p:spPr/>
        <p:txBody>
          <a:bodyPr lIns="0" tIns="0" rIns="0" bIns="0"/>
          <a:lstStyle/>
          <a:p>
            <a:endParaRPr/>
          </a:p>
        </p:txBody>
      </p:sp>
      <p:sp>
        <p:nvSpPr>
          <p:cNvPr id="5" name="Rectangle 286"/>
          <p:cNvSpPr>
            <a:spLocks noGrp="1" noChangeArrowheads="1"/>
          </p:cNvSpPr>
          <p:nvPr>
            <p:ph idx="10" hasCustomPrompt="1"/>
          </p:nvPr>
        </p:nvSpPr>
        <p:spPr bwMode="auto">
          <a:xfrm>
            <a:off x="259081" y="908025"/>
            <a:ext cx="8077200" cy="12404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290287" indent="-290287">
              <a:spcAft>
                <a:spcPts val="612"/>
              </a:spcAft>
              <a:buFont typeface="Wingdings" panose="05000000000000000000" pitchFamily="2" charset="2"/>
              <a:buChar char="§"/>
              <a:defRPr baseline="0"/>
            </a:lvl1pPr>
            <a:lvl3pPr>
              <a:spcAft>
                <a:spcPts val="612"/>
              </a:spcAft>
              <a:defRPr baseline="0"/>
            </a:lvl3pPr>
            <a:lvl4pPr>
              <a:spcAft>
                <a:spcPts val="612"/>
              </a:spcAft>
              <a:buSzPct val="100000"/>
              <a:defRPr baseline="0"/>
            </a:lvl4pPr>
            <a:lvl5pPr>
              <a:spcAft>
                <a:spcPts val="612"/>
              </a:spcAft>
              <a:defRPr baseline="0"/>
            </a:lvl5pPr>
          </a:lstStyle>
          <a:p>
            <a:pPr lvl="0"/>
            <a:r>
              <a:rPr lang="en-US" noProof="0"/>
              <a:t>First Level</a:t>
            </a:r>
          </a:p>
          <a:p>
            <a:pPr lvl="2"/>
            <a:r>
              <a:rPr lang="en-US" noProof="0"/>
              <a:t>Second Level</a:t>
            </a:r>
          </a:p>
          <a:p>
            <a:pPr lvl="3"/>
            <a:r>
              <a:rPr lang="en-US" noProof="0"/>
              <a:t>Third Level</a:t>
            </a:r>
          </a:p>
          <a:p>
            <a:pPr lvl="4"/>
            <a:r>
              <a:rPr lang="en-US" noProof="0"/>
              <a:t>Fourth Level</a:t>
            </a:r>
          </a:p>
        </p:txBody>
      </p:sp>
    </p:spTree>
    <p:extLst>
      <p:ext uri="{BB962C8B-B14F-4D97-AF65-F5344CB8AC3E}">
        <p14:creationId xmlns:p14="http://schemas.microsoft.com/office/powerpoint/2010/main" val="154862380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jpeg"/><Relationship Id="rId5" Type="http://schemas.openxmlformats.org/officeDocument/2006/relationships/tags" Target="../tags/tag3.xml"/><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26" Type="http://schemas.openxmlformats.org/officeDocument/2006/relationships/image" Target="../media/image6.png"/><Relationship Id="rId3" Type="http://schemas.openxmlformats.org/officeDocument/2006/relationships/slideLayout" Target="../slideLayouts/slideLayout5.xml"/><Relationship Id="rId21" Type="http://schemas.openxmlformats.org/officeDocument/2006/relationships/tags" Target="../tags/tag17.xml"/><Relationship Id="rId7" Type="http://schemas.openxmlformats.org/officeDocument/2006/relationships/vmlDrawing" Target="../drawings/vmlDrawing1.v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5.emf"/><Relationship Id="rId2" Type="http://schemas.openxmlformats.org/officeDocument/2006/relationships/slideLayout" Target="../slideLayouts/slideLayout4.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3.xml"/><Relationship Id="rId6" Type="http://schemas.openxmlformats.org/officeDocument/2006/relationships/theme" Target="../theme/theme2.xml"/><Relationship Id="rId11" Type="http://schemas.openxmlformats.org/officeDocument/2006/relationships/tags" Target="../tags/tag7.xml"/><Relationship Id="rId24" Type="http://schemas.openxmlformats.org/officeDocument/2006/relationships/oleObject" Target="../embeddings/oleObject1.bin"/><Relationship Id="rId5" Type="http://schemas.openxmlformats.org/officeDocument/2006/relationships/slideLayout" Target="../slideLayouts/slideLayout7.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slideLayout" Target="../slideLayouts/slideLayout6.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1026" name="Picture 2" descr="top blue"/>
          <p:cNvPicPr>
            <a:picLocks noChangeAspect="1" noChangeArrowheads="1"/>
          </p:cNvPicPr>
          <p:nvPr/>
        </p:nvPicPr>
        <p:blipFill>
          <a:blip r:embed="rId6"/>
          <a:srcRect l="23065"/>
          <a:stretch>
            <a:fillRect/>
          </a:stretch>
        </p:blipFill>
        <p:spPr bwMode="auto">
          <a:xfrm>
            <a:off x="0" y="0"/>
            <a:ext cx="9150350" cy="930275"/>
          </a:xfrm>
          <a:prstGeom prst="rect">
            <a:avLst/>
          </a:prstGeom>
          <a:noFill/>
          <a:ln w="9525">
            <a:noFill/>
            <a:miter lim="800000"/>
            <a:headEnd/>
            <a:tailEnd/>
          </a:ln>
        </p:spPr>
      </p:pic>
      <p:sp>
        <p:nvSpPr>
          <p:cNvPr id="1027" name="Rectangle 3"/>
          <p:cNvSpPr>
            <a:spLocks noGrp="1" noChangeArrowheads="1"/>
          </p:cNvSpPr>
          <p:nvPr>
            <p:ph type="title"/>
          </p:nvPr>
        </p:nvSpPr>
        <p:spPr bwMode="white">
          <a:xfrm>
            <a:off x="736600" y="109538"/>
            <a:ext cx="5664200" cy="762000"/>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1028" name="Rectangle 4"/>
          <p:cNvSpPr>
            <a:spLocks noGrp="1" noChangeArrowheads="1"/>
          </p:cNvSpPr>
          <p:nvPr>
            <p:ph type="body" idx="1"/>
          </p:nvPr>
        </p:nvSpPr>
        <p:spPr bwMode="auto">
          <a:xfrm>
            <a:off x="533400" y="1219200"/>
            <a:ext cx="8153400" cy="5181600"/>
          </a:xfrm>
          <a:prstGeom prst="rect">
            <a:avLst/>
          </a:prstGeom>
          <a:noFill/>
          <a:ln w="9525">
            <a:noFill/>
            <a:miter lim="800000"/>
            <a:headEnd/>
            <a:tailEnd/>
          </a:ln>
        </p:spPr>
        <p:txBody>
          <a:bodyPr vert="horz" wrap="square" lIns="45720" tIns="46038" rIns="45720" bIns="46038" numCol="1" anchor="t" anchorCtr="0" compatLnSpc="1">
            <a:prstTxWarp prst="textNoShape">
              <a:avLst/>
            </a:prstTxWarp>
          </a:bodyPr>
          <a:lstStyle/>
          <a:p>
            <a:pPr lvl="0"/>
            <a:r>
              <a:rPr lang="en-US" altLang="en-US"/>
              <a:t>Click to edit Master text styles</a:t>
            </a:r>
          </a:p>
          <a:p>
            <a:pPr lvl="1"/>
            <a:r>
              <a:rPr lang="en-US" altLang="en-US"/>
              <a:t>Second level</a:t>
            </a:r>
          </a:p>
          <a:p>
            <a:pPr lvl="3"/>
            <a:r>
              <a:rPr lang="en-US" altLang="en-US"/>
              <a:t>Third level</a:t>
            </a:r>
          </a:p>
        </p:txBody>
      </p:sp>
      <p:sp>
        <p:nvSpPr>
          <p:cNvPr id="3198981" name="Line 5"/>
          <p:cNvSpPr>
            <a:spLocks noChangeShapeType="1"/>
          </p:cNvSpPr>
          <p:nvPr/>
        </p:nvSpPr>
        <p:spPr bwMode="auto">
          <a:xfrm>
            <a:off x="-17463" y="6856413"/>
            <a:ext cx="9161463" cy="0"/>
          </a:xfrm>
          <a:prstGeom prst="line">
            <a:avLst/>
          </a:prstGeom>
          <a:noFill/>
          <a:ln w="9525">
            <a:solidFill>
              <a:schemeClr val="bg2"/>
            </a:solidFill>
            <a:round/>
            <a:headEnd/>
            <a:tailEnd/>
          </a:ln>
          <a:effectLst/>
        </p:spPr>
        <p:txBody>
          <a:bodyPr lIns="45720" rIns="45720" anchor="ctr"/>
          <a:lstStyle/>
          <a:p>
            <a:pPr algn="ctr" eaLnBrk="0" fontAlgn="base" hangingPunct="0">
              <a:spcBef>
                <a:spcPct val="0"/>
              </a:spcBef>
              <a:spcAft>
                <a:spcPct val="0"/>
              </a:spcAft>
              <a:defRPr/>
            </a:pPr>
            <a:endParaRPr lang="en-US" sz="1600">
              <a:solidFill>
                <a:srgbClr val="000000"/>
              </a:solidFill>
            </a:endParaRPr>
          </a:p>
        </p:txBody>
      </p:sp>
      <p:pic>
        <p:nvPicPr>
          <p:cNvPr id="1030" name="Picture 6" descr="best ver2b seal"/>
          <p:cNvPicPr>
            <a:picLocks noChangeAspect="1" noChangeArrowheads="1"/>
          </p:cNvPicPr>
          <p:nvPr/>
        </p:nvPicPr>
        <p:blipFill>
          <a:blip r:embed="rId7">
            <a:clrChange>
              <a:clrFrom>
                <a:srgbClr val="003264"/>
              </a:clrFrom>
              <a:clrTo>
                <a:srgbClr val="003264">
                  <a:alpha val="0"/>
                </a:srgbClr>
              </a:clrTo>
            </a:clrChange>
          </a:blip>
          <a:srcRect/>
          <a:stretch>
            <a:fillRect/>
          </a:stretch>
        </p:blipFill>
        <p:spPr bwMode="auto">
          <a:xfrm>
            <a:off x="25400" y="157163"/>
            <a:ext cx="762000" cy="731837"/>
          </a:xfrm>
          <a:prstGeom prst="rect">
            <a:avLst/>
          </a:prstGeom>
          <a:noFill/>
          <a:ln w="9525">
            <a:noFill/>
            <a:miter lim="800000"/>
            <a:headEnd/>
            <a:tailEnd/>
          </a:ln>
        </p:spPr>
      </p:pic>
      <p:sp>
        <p:nvSpPr>
          <p:cNvPr id="3198985" name="Text Box 9"/>
          <p:cNvSpPr txBox="1">
            <a:spLocks noChangeArrowheads="1"/>
          </p:cNvSpPr>
          <p:nvPr/>
        </p:nvSpPr>
        <p:spPr bwMode="auto">
          <a:xfrm>
            <a:off x="4038600" y="6613525"/>
            <a:ext cx="1066800" cy="244475"/>
          </a:xfrm>
          <a:prstGeom prst="rect">
            <a:avLst/>
          </a:prstGeom>
          <a:noFill/>
          <a:ln w="9525">
            <a:noFill/>
            <a:miter lim="800000"/>
            <a:headEnd/>
            <a:tailEnd/>
          </a:ln>
          <a:effectLst/>
        </p:spPr>
        <p:txBody>
          <a:bodyPr lIns="45720" rIns="45720">
            <a:spAutoFit/>
          </a:bodyPr>
          <a:lstStyle/>
          <a:p>
            <a:pPr algn="ctr" eaLnBrk="0" fontAlgn="base" hangingPunct="0">
              <a:spcBef>
                <a:spcPct val="50000"/>
              </a:spcBef>
              <a:spcAft>
                <a:spcPct val="0"/>
              </a:spcAft>
              <a:defRPr/>
            </a:pPr>
            <a:fld id="{74C11B1E-D27A-4545-9113-CFB59631C2EA}" type="slidenum">
              <a:rPr lang="en-US" sz="1000">
                <a:solidFill>
                  <a:srgbClr val="000000"/>
                </a:solidFill>
              </a:rPr>
              <a:pPr algn="ctr" eaLnBrk="0" fontAlgn="base" hangingPunct="0">
                <a:spcBef>
                  <a:spcPct val="50000"/>
                </a:spcBef>
                <a:spcAft>
                  <a:spcPct val="0"/>
                </a:spcAft>
                <a:defRPr/>
              </a:pPr>
              <a:t>‹#›</a:t>
            </a:fld>
            <a:endParaRPr lang="en-US" sz="1000">
              <a:solidFill>
                <a:srgbClr val="000000"/>
              </a:solidFill>
            </a:endParaRPr>
          </a:p>
        </p:txBody>
      </p:sp>
      <p:sp>
        <p:nvSpPr>
          <p:cNvPr id="3198987" name="AcnSubjectTitle_ID_3198987" hidden="1"/>
          <p:cNvSpPr txBox="1">
            <a:spLocks noChangeArrowheads="1"/>
          </p:cNvSpPr>
          <p:nvPr>
            <p:custDataLst>
              <p:tags r:id="rId4"/>
            </p:custDataLst>
          </p:nvPr>
        </p:nvSpPr>
        <p:spPr bwMode="gray">
          <a:xfrm>
            <a:off x="836613" y="1420813"/>
            <a:ext cx="6985000" cy="244475"/>
          </a:xfrm>
          <a:prstGeom prst="rect">
            <a:avLst/>
          </a:prstGeom>
          <a:noFill/>
          <a:ln w="9525" algn="ctr">
            <a:noFill/>
            <a:miter lim="800000"/>
            <a:headEnd/>
            <a:tailEnd/>
          </a:ln>
          <a:effectLst/>
        </p:spPr>
        <p:txBody>
          <a:bodyPr lIns="0" tIns="0" rIns="0" bIns="0">
            <a:spAutoFit/>
          </a:bodyPr>
          <a:lstStyle/>
          <a:p>
            <a:pPr fontAlgn="base">
              <a:spcBef>
                <a:spcPct val="0"/>
              </a:spcBef>
              <a:spcAft>
                <a:spcPct val="0"/>
              </a:spcAft>
              <a:buClr>
                <a:srgbClr val="000000"/>
              </a:buClr>
              <a:defRPr/>
            </a:pPr>
            <a:r>
              <a:rPr lang="en-US" sz="1600" b="1">
                <a:solidFill>
                  <a:srgbClr val="000000"/>
                </a:solidFill>
              </a:rPr>
              <a:t>Subject Title</a:t>
            </a:r>
          </a:p>
        </p:txBody>
      </p:sp>
      <p:sp>
        <p:nvSpPr>
          <p:cNvPr id="3198988" name="AcnFootnote_ID_3198988" hidden="1"/>
          <p:cNvSpPr txBox="1">
            <a:spLocks noChangeArrowheads="1"/>
          </p:cNvSpPr>
          <p:nvPr>
            <p:custDataLst>
              <p:tags r:id="rId5"/>
            </p:custDataLst>
          </p:nvPr>
        </p:nvSpPr>
        <p:spPr bwMode="gray">
          <a:xfrm>
            <a:off x="836613" y="6254750"/>
            <a:ext cx="5564187" cy="334963"/>
          </a:xfrm>
          <a:prstGeom prst="rect">
            <a:avLst/>
          </a:prstGeom>
          <a:noFill/>
          <a:ln w="9525" algn="ctr">
            <a:noFill/>
            <a:miter lim="800000"/>
            <a:headEnd/>
            <a:tailEnd/>
          </a:ln>
          <a:effectLst/>
        </p:spPr>
        <p:txBody>
          <a:bodyPr lIns="0" tIns="0" rIns="0" bIns="0" anchor="b">
            <a:spAutoFit/>
          </a:bodyPr>
          <a:lstStyle/>
          <a:p>
            <a:pPr marL="538163" indent="-538163" fontAlgn="base">
              <a:spcBef>
                <a:spcPct val="0"/>
              </a:spcBef>
              <a:spcAft>
                <a:spcPct val="0"/>
              </a:spcAft>
              <a:buClr>
                <a:srgbClr val="000000"/>
              </a:buClr>
              <a:defRPr/>
            </a:pPr>
            <a:r>
              <a:rPr lang="en-US" sz="1000">
                <a:solidFill>
                  <a:srgbClr val="000000"/>
                </a:solidFill>
              </a:rPr>
              <a:t>*	Footnote</a:t>
            </a:r>
          </a:p>
          <a:p>
            <a:pPr marL="538163" indent="-538163" fontAlgn="base">
              <a:spcBef>
                <a:spcPct val="20000"/>
              </a:spcBef>
              <a:spcAft>
                <a:spcPct val="0"/>
              </a:spcAft>
              <a:buClr>
                <a:srgbClr val="000000"/>
              </a:buClr>
              <a:defRPr/>
            </a:pPr>
            <a:r>
              <a:rPr lang="en-US" sz="1000">
                <a:solidFill>
                  <a:srgbClr val="000000"/>
                </a:solidFill>
              </a:rPr>
              <a:t>Source:	Source</a:t>
            </a:r>
          </a:p>
        </p:txBody>
      </p:sp>
    </p:spTree>
    <p:extLst>
      <p:ext uri="{BB962C8B-B14F-4D97-AF65-F5344CB8AC3E}">
        <p14:creationId xmlns:p14="http://schemas.microsoft.com/office/powerpoint/2010/main" val="1838582338"/>
      </p:ext>
    </p:extLst>
  </p:cSld>
  <p:clrMap bg1="lt1" tx1="dk1" bg2="lt2" tx2="dk2" accent1="accent1" accent2="accent2" accent3="accent3" accent4="accent4" accent5="accent5" accent6="accent6" hlink="hlink" folHlink="folHlink"/>
  <p:sldLayoutIdLst>
    <p:sldLayoutId id="2147483664" r:id="rId1"/>
    <p:sldLayoutId id="2147483665" r:id="rId2"/>
  </p:sldLayoutIdLst>
  <p:transition/>
  <p:txStyles>
    <p:titleStyle>
      <a:lvl1pPr algn="l" rtl="0" eaLnBrk="1" fontAlgn="base" hangingPunct="1">
        <a:spcBef>
          <a:spcPct val="20000"/>
        </a:spcBef>
        <a:spcAft>
          <a:spcPct val="0"/>
        </a:spcAft>
        <a:tabLst>
          <a:tab pos="915988" algn="l"/>
        </a:tabLst>
        <a:defRPr sz="2400" b="1">
          <a:solidFill>
            <a:srgbClr val="FFC000"/>
          </a:solidFill>
          <a:latin typeface="+mj-lt"/>
          <a:ea typeface="+mj-ea"/>
          <a:cs typeface="+mj-cs"/>
        </a:defRPr>
      </a:lvl1pPr>
      <a:lvl2pPr algn="l" rtl="0" eaLnBrk="1" fontAlgn="base" hangingPunct="1">
        <a:spcBef>
          <a:spcPct val="20000"/>
        </a:spcBef>
        <a:spcAft>
          <a:spcPct val="0"/>
        </a:spcAft>
        <a:tabLst>
          <a:tab pos="915988" algn="l"/>
        </a:tabLst>
        <a:defRPr sz="2400" b="1">
          <a:solidFill>
            <a:srgbClr val="FFC000"/>
          </a:solidFill>
          <a:latin typeface="Arial" pitchFamily="34" charset="0"/>
        </a:defRPr>
      </a:lvl2pPr>
      <a:lvl3pPr algn="l" rtl="0" eaLnBrk="1" fontAlgn="base" hangingPunct="1">
        <a:spcBef>
          <a:spcPct val="20000"/>
        </a:spcBef>
        <a:spcAft>
          <a:spcPct val="0"/>
        </a:spcAft>
        <a:tabLst>
          <a:tab pos="915988" algn="l"/>
        </a:tabLst>
        <a:defRPr sz="2400" b="1">
          <a:solidFill>
            <a:srgbClr val="FFC000"/>
          </a:solidFill>
          <a:latin typeface="Arial" pitchFamily="34" charset="0"/>
        </a:defRPr>
      </a:lvl3pPr>
      <a:lvl4pPr algn="l" rtl="0" eaLnBrk="1" fontAlgn="base" hangingPunct="1">
        <a:spcBef>
          <a:spcPct val="20000"/>
        </a:spcBef>
        <a:spcAft>
          <a:spcPct val="0"/>
        </a:spcAft>
        <a:tabLst>
          <a:tab pos="915988" algn="l"/>
        </a:tabLst>
        <a:defRPr sz="2400" b="1">
          <a:solidFill>
            <a:srgbClr val="FFC000"/>
          </a:solidFill>
          <a:latin typeface="Arial" pitchFamily="34" charset="0"/>
        </a:defRPr>
      </a:lvl4pPr>
      <a:lvl5pPr algn="l" rtl="0" eaLnBrk="1" fontAlgn="base" hangingPunct="1">
        <a:spcBef>
          <a:spcPct val="20000"/>
        </a:spcBef>
        <a:spcAft>
          <a:spcPct val="0"/>
        </a:spcAft>
        <a:tabLst>
          <a:tab pos="915988" algn="l"/>
        </a:tabLst>
        <a:defRPr sz="2400" b="1">
          <a:solidFill>
            <a:srgbClr val="FFC000"/>
          </a:solidFill>
          <a:latin typeface="Arial" pitchFamily="34" charset="0"/>
        </a:defRPr>
      </a:lvl5pPr>
      <a:lvl6pPr marL="457200" algn="l" rtl="0" eaLnBrk="1" fontAlgn="base" hangingPunct="1">
        <a:spcBef>
          <a:spcPct val="20000"/>
        </a:spcBef>
        <a:spcAft>
          <a:spcPct val="0"/>
        </a:spcAft>
        <a:tabLst>
          <a:tab pos="915988" algn="l"/>
        </a:tabLst>
        <a:defRPr sz="2400" b="1">
          <a:solidFill>
            <a:schemeClr val="accent1"/>
          </a:solidFill>
          <a:latin typeface="Arial" pitchFamily="34" charset="0"/>
        </a:defRPr>
      </a:lvl6pPr>
      <a:lvl7pPr marL="914400" algn="l" rtl="0" eaLnBrk="1" fontAlgn="base" hangingPunct="1">
        <a:spcBef>
          <a:spcPct val="20000"/>
        </a:spcBef>
        <a:spcAft>
          <a:spcPct val="0"/>
        </a:spcAft>
        <a:tabLst>
          <a:tab pos="915988" algn="l"/>
        </a:tabLst>
        <a:defRPr sz="2400" b="1">
          <a:solidFill>
            <a:schemeClr val="accent1"/>
          </a:solidFill>
          <a:latin typeface="Arial" pitchFamily="34" charset="0"/>
        </a:defRPr>
      </a:lvl7pPr>
      <a:lvl8pPr marL="1371600" algn="l" rtl="0" eaLnBrk="1" fontAlgn="base" hangingPunct="1">
        <a:spcBef>
          <a:spcPct val="20000"/>
        </a:spcBef>
        <a:spcAft>
          <a:spcPct val="0"/>
        </a:spcAft>
        <a:tabLst>
          <a:tab pos="915988" algn="l"/>
        </a:tabLst>
        <a:defRPr sz="2400" b="1">
          <a:solidFill>
            <a:schemeClr val="accent1"/>
          </a:solidFill>
          <a:latin typeface="Arial" pitchFamily="34" charset="0"/>
        </a:defRPr>
      </a:lvl8pPr>
      <a:lvl9pPr marL="1828800" algn="l" rtl="0" eaLnBrk="1" fontAlgn="base" hangingPunct="1">
        <a:spcBef>
          <a:spcPct val="20000"/>
        </a:spcBef>
        <a:spcAft>
          <a:spcPct val="0"/>
        </a:spcAft>
        <a:tabLst>
          <a:tab pos="915988" algn="l"/>
        </a:tabLst>
        <a:defRPr sz="2400" b="1">
          <a:solidFill>
            <a:schemeClr val="accent1"/>
          </a:solidFill>
          <a:latin typeface="Arial" pitchFamily="34" charset="0"/>
        </a:defRPr>
      </a:lvl9pPr>
    </p:titleStyle>
    <p:bodyStyle>
      <a:lvl1pPr marL="381000" indent="-381000" algn="l" rtl="0" eaLnBrk="1" fontAlgn="base" hangingPunct="1">
        <a:spcBef>
          <a:spcPct val="0"/>
        </a:spcBef>
        <a:spcAft>
          <a:spcPts val="1200"/>
        </a:spcAft>
        <a:buClr>
          <a:srgbClr val="FFC000"/>
        </a:buClr>
        <a:buSzPct val="80000"/>
        <a:buFont typeface="Wingdings" pitchFamily="2" charset="2"/>
        <a:buChar char="n"/>
        <a:defRPr b="1">
          <a:solidFill>
            <a:srgbClr val="003366"/>
          </a:solidFill>
          <a:latin typeface="Calibri" pitchFamily="34" charset="0"/>
          <a:ea typeface="Calibri" pitchFamily="34" charset="0"/>
          <a:cs typeface="Calibri" pitchFamily="34" charset="0"/>
        </a:defRPr>
      </a:lvl1pPr>
      <a:lvl2pPr marL="568325" indent="-222250" algn="l" rtl="0" eaLnBrk="1" fontAlgn="base" hangingPunct="1">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1" fontAlgn="base" hangingPunct="1">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1" fontAlgn="base" hangingPunct="1">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1" fontAlgn="base" hangingPunct="1">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6pPr>
      <a:lvl7pPr marL="22479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7pPr>
      <a:lvl8pPr marL="27051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8pPr>
      <a:lvl9pPr marL="31623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173787583"/>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026"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61984" cy="161974"/>
                      </a:xfrm>
                      <a:prstGeom prst="rect">
                        <a:avLst/>
                      </a:prstGeom>
                    </p:spPr>
                  </p:pic>
                </p:oleObj>
              </mc:Fallback>
            </mc:AlternateContent>
          </a:graphicData>
        </a:graphic>
      </p:graphicFrame>
      <p:grpSp>
        <p:nvGrpSpPr>
          <p:cNvPr id="58" name="Group 57"/>
          <p:cNvGrpSpPr/>
          <p:nvPr/>
        </p:nvGrpSpPr>
        <p:grpSpPr bwMode="ltGray">
          <a:xfrm>
            <a:off x="22" y="6565686"/>
            <a:ext cx="9162288" cy="301752"/>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p:spPr>
          <p:txBody>
            <a:bodyPr wrap="none" anchor="ctr"/>
            <a:lstStyle/>
            <a:p>
              <a:pPr fontAlgn="base">
                <a:spcBef>
                  <a:spcPct val="0"/>
                </a:spcBef>
                <a:spcAft>
                  <a:spcPct val="0"/>
                </a:spcAft>
              </a:pPr>
              <a:endParaRPr lang="en-US" sz="1632">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p:spPr>
          <p:txBody>
            <a:bodyPr wrap="none" anchor="ctr"/>
            <a:lstStyle/>
            <a:p>
              <a:pPr fontAlgn="base">
                <a:spcBef>
                  <a:spcPct val="0"/>
                </a:spcBef>
                <a:spcAft>
                  <a:spcPct val="0"/>
                </a:spcAft>
              </a:pPr>
              <a:endParaRPr lang="en-US" sz="1632">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p:spPr>
          <p:txBody>
            <a:bodyPr wrap="none" anchor="ctr"/>
            <a:lstStyle/>
            <a:p>
              <a:pPr fontAlgn="base">
                <a:spcBef>
                  <a:spcPct val="0"/>
                </a:spcBef>
                <a:spcAft>
                  <a:spcPct val="0"/>
                </a:spcAft>
              </a:pPr>
              <a:endParaRPr lang="en-US" sz="1632">
                <a:solidFill>
                  <a:srgbClr val="000000"/>
                </a:solidFill>
              </a:endParaRPr>
            </a:p>
          </p:txBody>
        </p:sp>
      </p:grpSp>
      <p:sp>
        <p:nvSpPr>
          <p:cNvPr id="1036" name="Rectangle 286"/>
          <p:cNvSpPr>
            <a:spLocks noGrp="1" noChangeArrowheads="1"/>
          </p:cNvSpPr>
          <p:nvPr>
            <p:ph type="body" idx="1"/>
          </p:nvPr>
        </p:nvSpPr>
        <p:spPr bwMode="auto">
          <a:xfrm>
            <a:off x="1482160" y="1990681"/>
            <a:ext cx="4389768" cy="157014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259090" y="252471"/>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174944" y="27536"/>
            <a:ext cx="894706"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28">
                <a:solidFill>
                  <a:srgbClr val="808080"/>
                </a:solidFill>
              </a:rPr>
              <a:t>TRACKER</a:t>
            </a:r>
          </a:p>
        </p:txBody>
      </p:sp>
      <p:sp>
        <p:nvSpPr>
          <p:cNvPr id="11" name="McK 3. Unit of measure" hidden="1"/>
          <p:cNvSpPr txBox="1">
            <a:spLocks noChangeArrowheads="1"/>
          </p:cNvSpPr>
          <p:nvPr/>
        </p:nvSpPr>
        <p:spPr bwMode="auto">
          <a:xfrm>
            <a:off x="174944" y="542633"/>
            <a:ext cx="8053675"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32">
                <a:solidFill>
                  <a:srgbClr val="808080"/>
                </a:solidFill>
                <a:latin typeface="Arial"/>
              </a:rPr>
              <a:t>Unit of measure</a:t>
            </a:r>
          </a:p>
        </p:txBody>
      </p:sp>
      <p:grpSp>
        <p:nvGrpSpPr>
          <p:cNvPr id="12" name="McK Slide Elements" hidden="1"/>
          <p:cNvGrpSpPr>
            <a:grpSpLocks/>
          </p:cNvGrpSpPr>
          <p:nvPr/>
        </p:nvGrpSpPr>
        <p:grpSpPr bwMode="auto">
          <a:xfrm>
            <a:off x="174965" y="6083194"/>
            <a:ext cx="8799129" cy="416275"/>
            <a:chOff x="75" y="3893"/>
            <a:chExt cx="689" cy="257"/>
          </a:xfrm>
        </p:grpSpPr>
        <p:sp>
          <p:nvSpPr>
            <p:cNvPr id="13" name="McK 4. Footnote"/>
            <p:cNvSpPr txBox="1">
              <a:spLocks noChangeArrowheads="1"/>
            </p:cNvSpPr>
            <p:nvPr/>
          </p:nvSpPr>
          <p:spPr bwMode="auto">
            <a:xfrm>
              <a:off x="75" y="3893"/>
              <a:ext cx="689"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20">
                  <a:solidFill>
                    <a:srgbClr val="000000"/>
                  </a:solidFill>
                  <a:latin typeface="Arial"/>
                </a:rPr>
                <a:t>1 Footnote</a:t>
              </a:r>
            </a:p>
          </p:txBody>
        </p:sp>
        <p:sp>
          <p:nvSpPr>
            <p:cNvPr id="14" name="McK 5. Source"/>
            <p:cNvSpPr>
              <a:spLocks noChangeArrowheads="1"/>
            </p:cNvSpPr>
            <p:nvPr/>
          </p:nvSpPr>
          <p:spPr bwMode="auto">
            <a:xfrm>
              <a:off x="75" y="4051"/>
              <a:ext cx="689"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9148" indent="-619148" defTabSz="909370" fontAlgn="base">
                <a:spcBef>
                  <a:spcPct val="0"/>
                </a:spcBef>
                <a:spcAft>
                  <a:spcPct val="0"/>
                </a:spcAft>
                <a:tabLst>
                  <a:tab pos="622369" algn="l"/>
                </a:tabLst>
              </a:pPr>
              <a:r>
                <a:rPr lang="en-US" sz="1020">
                  <a:solidFill>
                    <a:srgbClr val="000000"/>
                  </a:solidFill>
                </a:rPr>
                <a:t>SOURCE: Source</a:t>
              </a:r>
            </a:p>
          </p:txBody>
        </p:sp>
      </p:grpSp>
      <p:grpSp>
        <p:nvGrpSpPr>
          <p:cNvPr id="15" name="ACET" hidden="1"/>
          <p:cNvGrpSpPr>
            <a:grpSpLocks/>
          </p:cNvGrpSpPr>
          <p:nvPr/>
        </p:nvGrpSpPr>
        <p:grpSpPr bwMode="auto">
          <a:xfrm>
            <a:off x="1482165" y="1137061"/>
            <a:ext cx="4350892" cy="531276"/>
            <a:chOff x="915" y="702"/>
            <a:chExt cx="2686" cy="32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32" b="1">
                  <a:solidFill>
                    <a:srgbClr val="000000"/>
                  </a:solidFill>
                </a:rPr>
                <a:t>Title</a:t>
              </a:r>
            </a:p>
            <a:p>
              <a:pPr fontAlgn="base">
                <a:spcBef>
                  <a:spcPct val="0"/>
                </a:spcBef>
                <a:spcAft>
                  <a:spcPct val="0"/>
                </a:spcAft>
              </a:pPr>
              <a:r>
                <a:rPr lang="en-US" sz="1632">
                  <a:solidFill>
                    <a:srgbClr val="808080"/>
                  </a:solidFill>
                </a:rPr>
                <a:t>Unit of measure</a:t>
              </a:r>
            </a:p>
          </p:txBody>
        </p:sp>
      </p:grpSp>
      <p:grpSp>
        <p:nvGrpSpPr>
          <p:cNvPr id="63" name="LegendBoxes" hidden="1"/>
          <p:cNvGrpSpPr>
            <a:grpSpLocks/>
          </p:cNvGrpSpPr>
          <p:nvPr/>
        </p:nvGrpSpPr>
        <p:grpSpPr bwMode="auto">
          <a:xfrm>
            <a:off x="7449477" y="275481"/>
            <a:ext cx="788863" cy="1022061"/>
            <a:chOff x="4936" y="176"/>
            <a:chExt cx="487" cy="631"/>
          </a:xfrm>
        </p:grpSpPr>
        <p:sp>
          <p:nvSpPr>
            <p:cNvPr id="64" name="Legend1"/>
            <p:cNvSpPr>
              <a:spLocks noChangeArrowheads="1"/>
            </p:cNvSpPr>
            <p:nvPr/>
          </p:nvSpPr>
          <p:spPr bwMode="auto">
            <a:xfrm>
              <a:off x="5096"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66" name="Legend2"/>
            <p:cNvSpPr>
              <a:spLocks noChangeArrowheads="1"/>
            </p:cNvSpPr>
            <p:nvPr/>
          </p:nvSpPr>
          <p:spPr bwMode="auto">
            <a:xfrm>
              <a:off x="5096" y="34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68" name="Legend3"/>
            <p:cNvSpPr>
              <a:spLocks noChangeArrowheads="1"/>
            </p:cNvSpPr>
            <p:nvPr/>
          </p:nvSpPr>
          <p:spPr bwMode="auto">
            <a:xfrm>
              <a:off x="5096" y="517"/>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70" name="Legend4"/>
            <p:cNvSpPr>
              <a:spLocks noChangeArrowheads="1"/>
            </p:cNvSpPr>
            <p:nvPr/>
          </p:nvSpPr>
          <p:spPr bwMode="auto">
            <a:xfrm>
              <a:off x="5096" y="688"/>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grpSp>
        <p:nvGrpSpPr>
          <p:cNvPr id="72" name="LegendLines" hidden="1"/>
          <p:cNvGrpSpPr>
            <a:grpSpLocks/>
          </p:cNvGrpSpPr>
          <p:nvPr/>
        </p:nvGrpSpPr>
        <p:grpSpPr bwMode="auto">
          <a:xfrm>
            <a:off x="7135270" y="275459"/>
            <a:ext cx="1103112" cy="749943"/>
            <a:chOff x="4750" y="176"/>
            <a:chExt cx="681" cy="463"/>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24">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24">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24">
                <a:solidFill>
                  <a:srgbClr val="000000"/>
                </a:solidFill>
              </a:endParaRPr>
            </a:p>
          </p:txBody>
        </p:sp>
        <p:sp>
          <p:nvSpPr>
            <p:cNvPr id="76" name="Legend1"/>
            <p:cNvSpPr>
              <a:spLocks noChangeArrowheads="1"/>
            </p:cNvSpPr>
            <p:nvPr/>
          </p:nvSpPr>
          <p:spPr bwMode="auto">
            <a:xfrm>
              <a:off x="5104"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77" name="Legend2"/>
            <p:cNvSpPr>
              <a:spLocks noChangeArrowheads="1"/>
            </p:cNvSpPr>
            <p:nvPr/>
          </p:nvSpPr>
          <p:spPr bwMode="auto">
            <a:xfrm>
              <a:off x="5104" y="344"/>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78" name="Legend3"/>
            <p:cNvSpPr>
              <a:spLocks noChangeArrowheads="1"/>
            </p:cNvSpPr>
            <p:nvPr/>
          </p:nvSpPr>
          <p:spPr bwMode="auto">
            <a:xfrm>
              <a:off x="5104" y="520"/>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grpSp>
      <p:grpSp>
        <p:nvGrpSpPr>
          <p:cNvPr id="79" name="McKSticker" hidden="1"/>
          <p:cNvGrpSpPr/>
          <p:nvPr/>
        </p:nvGrpSpPr>
        <p:grpSpPr bwMode="auto">
          <a:xfrm>
            <a:off x="7118798" y="275439"/>
            <a:ext cx="1109828" cy="220474"/>
            <a:chOff x="7653105" y="285750"/>
            <a:chExt cx="1087670" cy="216085"/>
          </a:xfrm>
        </p:grpSpPr>
        <p:sp>
          <p:nvSpPr>
            <p:cNvPr id="80" name="StickerRectangle"/>
            <p:cNvSpPr>
              <a:spLocks noChangeArrowheads="1"/>
            </p:cNvSpPr>
            <p:nvPr/>
          </p:nvSpPr>
          <p:spPr bwMode="auto">
            <a:xfrm>
              <a:off x="7653105" y="285750"/>
              <a:ext cx="1087670" cy="21608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09466" fontAlgn="base">
                <a:spcBef>
                  <a:spcPct val="0"/>
                </a:spcBef>
                <a:spcAft>
                  <a:spcPct val="0"/>
                </a:spcAft>
                <a:buClr>
                  <a:srgbClr val="000000"/>
                </a:buClr>
              </a:pPr>
              <a:r>
                <a:rPr lang="en-US" sz="1224">
                  <a:solidFill>
                    <a:srgbClr val="808080"/>
                  </a:solidFill>
                </a:rPr>
                <a:t>PRELIMINARY</a:t>
              </a:r>
            </a:p>
          </p:txBody>
        </p:sp>
        <p:cxnSp>
          <p:nvCxnSpPr>
            <p:cNvPr id="81" name="AutoShape 31"/>
            <p:cNvCxnSpPr>
              <a:cxnSpLocks noChangeShapeType="1"/>
              <a:stCxn id="80" idx="2"/>
              <a:endCxn id="80" idx="4"/>
            </p:cNvCxnSpPr>
            <p:nvPr/>
          </p:nvCxnSpPr>
          <p:spPr bwMode="auto">
            <a:xfrm>
              <a:off x="7653105" y="285750"/>
              <a:ext cx="0" cy="21608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53105" y="501835"/>
              <a:ext cx="108767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57161" cy="1333054"/>
            <a:chOff x="6655594" y="273840"/>
            <a:chExt cx="840048" cy="1306516"/>
          </a:xfrm>
        </p:grpSpPr>
        <p:grpSp>
          <p:nvGrpSpPr>
            <p:cNvPr id="84" name="MoonLegend1"/>
            <p:cNvGrpSpPr>
              <a:grpSpLocks noChangeAspect="1"/>
            </p:cNvGrpSpPr>
            <p:nvPr>
              <p:custDataLst>
                <p:tags r:id="rId9"/>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103"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grpSp>
          <p:nvGrpSpPr>
            <p:cNvPr id="85" name="MoonLegend2"/>
            <p:cNvGrpSpPr>
              <a:grpSpLocks noChangeAspect="1"/>
            </p:cNvGrpSpPr>
            <p:nvPr>
              <p:custDataLst>
                <p:tags r:id="rId10"/>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101" name="Arc 42"/>
              <p:cNvSpPr>
                <a:spLocks noChangeAspect="1"/>
              </p:cNvSpPr>
              <p:nvPr>
                <p:custDataLst>
                  <p:tags r:id="rId21"/>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grpSp>
          <p:nvGrpSpPr>
            <p:cNvPr id="86" name="MoonLegend4"/>
            <p:cNvGrpSpPr>
              <a:grpSpLocks noChangeAspect="1"/>
            </p:cNvGrpSpPr>
            <p:nvPr>
              <p:custDataLst>
                <p:tags r:id="rId11"/>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99"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grpSp>
          <p:nvGrpSpPr>
            <p:cNvPr id="87" name="MoonLegend5"/>
            <p:cNvGrpSpPr>
              <a:grpSpLocks noChangeAspect="1"/>
            </p:cNvGrpSpPr>
            <p:nvPr>
              <p:custDataLst>
                <p:tags r:id="rId12"/>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97"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sp>
          <p:nvSpPr>
            <p:cNvPr id="88" name="Legend1"/>
            <p:cNvSpPr>
              <a:spLocks noChangeArrowheads="1"/>
            </p:cNvSpPr>
            <p:nvPr/>
          </p:nvSpPr>
          <p:spPr bwMode="auto">
            <a:xfrm>
              <a:off x="6976269" y="28654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89" name="Legend2"/>
            <p:cNvSpPr>
              <a:spLocks noChangeArrowheads="1"/>
            </p:cNvSpPr>
            <p:nvPr/>
          </p:nvSpPr>
          <p:spPr bwMode="auto">
            <a:xfrm>
              <a:off x="6976269" y="56117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90" name="Legend3"/>
            <p:cNvSpPr>
              <a:spLocks noChangeArrowheads="1"/>
            </p:cNvSpPr>
            <p:nvPr/>
          </p:nvSpPr>
          <p:spPr bwMode="auto">
            <a:xfrm>
              <a:off x="6976269" y="835817"/>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91" name="Legend4"/>
            <p:cNvSpPr>
              <a:spLocks noChangeArrowheads="1"/>
            </p:cNvSpPr>
            <p:nvPr/>
          </p:nvSpPr>
          <p:spPr bwMode="auto">
            <a:xfrm>
              <a:off x="6976269" y="110728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92" name="Legend5"/>
            <p:cNvSpPr>
              <a:spLocks noChangeArrowheads="1"/>
            </p:cNvSpPr>
            <p:nvPr/>
          </p:nvSpPr>
          <p:spPr bwMode="auto">
            <a:xfrm>
              <a:off x="6976269" y="138350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grpSp>
          <p:nvGrpSpPr>
            <p:cNvPr id="93" name="MoonLegend3"/>
            <p:cNvGrpSpPr>
              <a:grpSpLocks noChangeAspect="1"/>
            </p:cNvGrpSpPr>
            <p:nvPr>
              <p:custDataLst>
                <p:tags r:id="rId13"/>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95"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grpSp>
      <p:sp>
        <p:nvSpPr>
          <p:cNvPr id="104" name="Slide Number"/>
          <p:cNvSpPr txBox="1">
            <a:spLocks/>
          </p:cNvSpPr>
          <p:nvPr/>
        </p:nvSpPr>
        <p:spPr bwMode="auto">
          <a:xfrm>
            <a:off x="8807126" y="6631766"/>
            <a:ext cx="161931" cy="16015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020" smtClean="0">
                <a:solidFill>
                  <a:srgbClr val="FFFFFF"/>
                </a:solidFill>
              </a:rPr>
              <a:pPr algn="r" fontAlgn="base">
                <a:spcBef>
                  <a:spcPct val="0"/>
                </a:spcBef>
                <a:spcAft>
                  <a:spcPct val="0"/>
                </a:spcAft>
              </a:pPr>
              <a:t>‹#›</a:t>
            </a:fld>
            <a:endParaRPr lang="en-US" sz="102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p:nvPicPr>
        <p:blipFill>
          <a:blip r:embed="rId2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5" name="TextBox 104">
            <a:extLst>
              <a:ext uri="{FF2B5EF4-FFF2-40B4-BE49-F238E27FC236}">
                <a16:creationId xmlns:a16="http://schemas.microsoft.com/office/drawing/2014/main" id="{A200752F-0FC0-452E-8D30-39C4B28B39FF}"/>
              </a:ext>
            </a:extLst>
          </p:cNvPr>
          <p:cNvSpPr txBox="1"/>
          <p:nvPr userDrawn="1"/>
        </p:nvSpPr>
        <p:spPr>
          <a:xfrm>
            <a:off x="6092137" y="6385458"/>
            <a:ext cx="3116490"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rgbClr val="000000"/>
                </a:solidFill>
                <a:latin typeface="Arial"/>
              </a:rPr>
              <a:t>* Confidential – for policy development purposes only   |</a:t>
            </a:r>
          </a:p>
        </p:txBody>
      </p:sp>
    </p:spTree>
    <p:extLst>
      <p:ext uri="{BB962C8B-B14F-4D97-AF65-F5344CB8AC3E}">
        <p14:creationId xmlns:p14="http://schemas.microsoft.com/office/powerpoint/2010/main" val="2571856831"/>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Lst>
  <p:hf hdr="0" ftr="0" dt="0"/>
  <p:txStyles>
    <p:titleStyle>
      <a:lvl1pPr algn="l" defTabSz="909370" rtl="0" eaLnBrk="1" fontAlgn="base" hangingPunct="1">
        <a:spcBef>
          <a:spcPct val="0"/>
        </a:spcBef>
        <a:spcAft>
          <a:spcPct val="0"/>
        </a:spcAft>
        <a:tabLst>
          <a:tab pos="274101" algn="l"/>
        </a:tabLst>
        <a:defRPr sz="1939" b="1" baseline="0">
          <a:solidFill>
            <a:schemeClr val="tx2"/>
          </a:solidFill>
          <a:latin typeface="+mj-lt"/>
          <a:ea typeface="+mj-ea"/>
          <a:cs typeface="+mj-cs"/>
        </a:defRPr>
      </a:lvl1pPr>
      <a:lvl2pPr algn="l" defTabSz="909370" rtl="0" eaLnBrk="1" fontAlgn="base" hangingPunct="1">
        <a:spcBef>
          <a:spcPct val="0"/>
        </a:spcBef>
        <a:spcAft>
          <a:spcPct val="0"/>
        </a:spcAft>
        <a:defRPr sz="1939" b="1">
          <a:solidFill>
            <a:schemeClr val="tx2"/>
          </a:solidFill>
          <a:latin typeface="Arial" charset="0"/>
        </a:defRPr>
      </a:lvl2pPr>
      <a:lvl3pPr algn="l" defTabSz="909370" rtl="0" eaLnBrk="1" fontAlgn="base" hangingPunct="1">
        <a:spcBef>
          <a:spcPct val="0"/>
        </a:spcBef>
        <a:spcAft>
          <a:spcPct val="0"/>
        </a:spcAft>
        <a:defRPr sz="1939" b="1">
          <a:solidFill>
            <a:schemeClr val="tx2"/>
          </a:solidFill>
          <a:latin typeface="Arial" charset="0"/>
        </a:defRPr>
      </a:lvl3pPr>
      <a:lvl4pPr algn="l" defTabSz="909370" rtl="0" eaLnBrk="1" fontAlgn="base" hangingPunct="1">
        <a:spcBef>
          <a:spcPct val="0"/>
        </a:spcBef>
        <a:spcAft>
          <a:spcPct val="0"/>
        </a:spcAft>
        <a:defRPr sz="1939" b="1">
          <a:solidFill>
            <a:schemeClr val="tx2"/>
          </a:solidFill>
          <a:latin typeface="Arial" charset="0"/>
        </a:defRPr>
      </a:lvl4pPr>
      <a:lvl5pPr algn="l" defTabSz="909370" rtl="0" eaLnBrk="1" fontAlgn="base" hangingPunct="1">
        <a:spcBef>
          <a:spcPct val="0"/>
        </a:spcBef>
        <a:spcAft>
          <a:spcPct val="0"/>
        </a:spcAft>
        <a:defRPr sz="1939" b="1">
          <a:solidFill>
            <a:schemeClr val="tx2"/>
          </a:solidFill>
          <a:latin typeface="Arial" charset="0"/>
        </a:defRPr>
      </a:lvl5pPr>
      <a:lvl6pPr marL="464331" algn="l" defTabSz="909370" rtl="0" eaLnBrk="1" fontAlgn="base" hangingPunct="1">
        <a:spcBef>
          <a:spcPct val="0"/>
        </a:spcBef>
        <a:spcAft>
          <a:spcPct val="0"/>
        </a:spcAft>
        <a:defRPr sz="1939" b="1">
          <a:solidFill>
            <a:schemeClr val="tx2"/>
          </a:solidFill>
          <a:latin typeface="Arial" charset="0"/>
        </a:defRPr>
      </a:lvl6pPr>
      <a:lvl7pPr marL="928718" algn="l" defTabSz="909370" rtl="0" eaLnBrk="1" fontAlgn="base" hangingPunct="1">
        <a:spcBef>
          <a:spcPct val="0"/>
        </a:spcBef>
        <a:spcAft>
          <a:spcPct val="0"/>
        </a:spcAft>
        <a:defRPr sz="1939" b="1">
          <a:solidFill>
            <a:schemeClr val="tx2"/>
          </a:solidFill>
          <a:latin typeface="Arial" charset="0"/>
        </a:defRPr>
      </a:lvl7pPr>
      <a:lvl8pPr marL="1393081" algn="l" defTabSz="909370" rtl="0" eaLnBrk="1" fontAlgn="base" hangingPunct="1">
        <a:spcBef>
          <a:spcPct val="0"/>
        </a:spcBef>
        <a:spcAft>
          <a:spcPct val="0"/>
        </a:spcAft>
        <a:defRPr sz="1939" b="1">
          <a:solidFill>
            <a:schemeClr val="tx2"/>
          </a:solidFill>
          <a:latin typeface="Arial" charset="0"/>
        </a:defRPr>
      </a:lvl8pPr>
      <a:lvl9pPr marL="1857437" algn="l" defTabSz="909370" rtl="0" eaLnBrk="1" fontAlgn="base" hangingPunct="1">
        <a:spcBef>
          <a:spcPct val="0"/>
        </a:spcBef>
        <a:spcAft>
          <a:spcPct val="0"/>
        </a:spcAft>
        <a:defRPr sz="1939" b="1">
          <a:solidFill>
            <a:schemeClr val="tx2"/>
          </a:solidFill>
          <a:latin typeface="Arial" charset="0"/>
        </a:defRPr>
      </a:lvl9pPr>
    </p:titleStyle>
    <p:bodyStyle>
      <a:lvl1pPr marL="0" indent="0" algn="l" defTabSz="909370" rtl="0" eaLnBrk="1" fontAlgn="base" hangingPunct="1">
        <a:spcBef>
          <a:spcPct val="0"/>
        </a:spcBef>
        <a:spcAft>
          <a:spcPts val="600"/>
        </a:spcAft>
        <a:buClr>
          <a:schemeClr val="tx2"/>
        </a:buClr>
        <a:defRPr sz="1632" baseline="0">
          <a:solidFill>
            <a:schemeClr val="tx1"/>
          </a:solidFill>
          <a:latin typeface="+mn-lt"/>
          <a:ea typeface="+mn-ea"/>
          <a:cs typeface="+mn-cs"/>
        </a:defRPr>
      </a:lvl1pPr>
      <a:lvl2pPr marL="196709" indent="-195099" algn="l" defTabSz="909370" rtl="0" eaLnBrk="1" fontAlgn="base" hangingPunct="1">
        <a:spcBef>
          <a:spcPct val="0"/>
        </a:spcBef>
        <a:spcAft>
          <a:spcPts val="600"/>
        </a:spcAft>
        <a:buClr>
          <a:schemeClr val="tx2"/>
        </a:buClr>
        <a:buSzPct val="125000"/>
        <a:buFont typeface="Arial" charset="0"/>
        <a:buChar char="▪"/>
        <a:defRPr sz="1632" baseline="0">
          <a:solidFill>
            <a:schemeClr val="tx1"/>
          </a:solidFill>
          <a:latin typeface="+mn-lt"/>
        </a:defRPr>
      </a:lvl2pPr>
      <a:lvl3pPr marL="464331" indent="-266041" algn="l" defTabSz="909370" rtl="0" eaLnBrk="1" fontAlgn="base" hangingPunct="1">
        <a:spcBef>
          <a:spcPct val="0"/>
        </a:spcBef>
        <a:spcAft>
          <a:spcPts val="600"/>
        </a:spcAft>
        <a:buClr>
          <a:schemeClr val="tx2"/>
        </a:buClr>
        <a:buSzPct val="120000"/>
        <a:buFont typeface="Arial" charset="0"/>
        <a:buChar char="–"/>
        <a:defRPr sz="1632" baseline="0">
          <a:solidFill>
            <a:schemeClr val="tx1"/>
          </a:solidFill>
          <a:latin typeface="+mn-lt"/>
        </a:defRPr>
      </a:lvl3pPr>
      <a:lvl4pPr marL="623983" indent="-158016" algn="l" defTabSz="909370" rtl="0" eaLnBrk="1" fontAlgn="base" hangingPunct="1">
        <a:spcBef>
          <a:spcPct val="0"/>
        </a:spcBef>
        <a:spcAft>
          <a:spcPts val="600"/>
        </a:spcAft>
        <a:buClr>
          <a:schemeClr val="tx2"/>
        </a:buClr>
        <a:buSzPct val="120000"/>
        <a:buFont typeface="Arial" charset="0"/>
        <a:buChar char="▫"/>
        <a:defRPr sz="1632" baseline="0">
          <a:solidFill>
            <a:schemeClr val="tx1"/>
          </a:solidFill>
          <a:latin typeface="+mn-lt"/>
        </a:defRPr>
      </a:lvl4pPr>
      <a:lvl5pPr marL="761551" indent="-132213" algn="l" defTabSz="909370" rtl="0" eaLnBrk="1" fontAlgn="base" hangingPunct="1">
        <a:spcBef>
          <a:spcPct val="0"/>
        </a:spcBef>
        <a:spcAft>
          <a:spcPts val="600"/>
        </a:spcAft>
        <a:buClr>
          <a:schemeClr val="tx2"/>
        </a:buClr>
        <a:buSzPct val="89000"/>
        <a:buFont typeface="Arial" charset="0"/>
        <a:buChar char="-"/>
        <a:defRPr sz="1632" baseline="0">
          <a:solidFill>
            <a:schemeClr val="tx1"/>
          </a:solidFill>
          <a:latin typeface="+mn-lt"/>
        </a:defRPr>
      </a:lvl5pPr>
      <a:lvl6pPr marL="761551" indent="-132213" algn="l" defTabSz="90937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1551" indent="-132213" algn="l" defTabSz="90937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1551" indent="-132213" algn="l" defTabSz="90937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1551" indent="-132213" algn="l" defTabSz="90937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28718" rtl="0" eaLnBrk="1" latinLnBrk="0" hangingPunct="1">
        <a:defRPr sz="1837" kern="1200">
          <a:solidFill>
            <a:schemeClr val="tx1"/>
          </a:solidFill>
          <a:latin typeface="+mn-lt"/>
          <a:ea typeface="+mn-ea"/>
          <a:cs typeface="+mn-cs"/>
        </a:defRPr>
      </a:lvl1pPr>
      <a:lvl2pPr marL="464331" algn="l" defTabSz="928718" rtl="0" eaLnBrk="1" latinLnBrk="0" hangingPunct="1">
        <a:defRPr sz="1837" kern="1200">
          <a:solidFill>
            <a:schemeClr val="tx1"/>
          </a:solidFill>
          <a:latin typeface="+mn-lt"/>
          <a:ea typeface="+mn-ea"/>
          <a:cs typeface="+mn-cs"/>
        </a:defRPr>
      </a:lvl2pPr>
      <a:lvl3pPr marL="928718" algn="l" defTabSz="928718" rtl="0" eaLnBrk="1" latinLnBrk="0" hangingPunct="1">
        <a:defRPr sz="1837" kern="1200">
          <a:solidFill>
            <a:schemeClr val="tx1"/>
          </a:solidFill>
          <a:latin typeface="+mn-lt"/>
          <a:ea typeface="+mn-ea"/>
          <a:cs typeface="+mn-cs"/>
        </a:defRPr>
      </a:lvl3pPr>
      <a:lvl4pPr marL="1393081" algn="l" defTabSz="928718" rtl="0" eaLnBrk="1" latinLnBrk="0" hangingPunct="1">
        <a:defRPr sz="1837" kern="1200">
          <a:solidFill>
            <a:schemeClr val="tx1"/>
          </a:solidFill>
          <a:latin typeface="+mn-lt"/>
          <a:ea typeface="+mn-ea"/>
          <a:cs typeface="+mn-cs"/>
        </a:defRPr>
      </a:lvl4pPr>
      <a:lvl5pPr marL="1857437" algn="l" defTabSz="928718" rtl="0" eaLnBrk="1" latinLnBrk="0" hangingPunct="1">
        <a:defRPr sz="1837" kern="1200">
          <a:solidFill>
            <a:schemeClr val="tx1"/>
          </a:solidFill>
          <a:latin typeface="+mn-lt"/>
          <a:ea typeface="+mn-ea"/>
          <a:cs typeface="+mn-cs"/>
        </a:defRPr>
      </a:lvl5pPr>
      <a:lvl6pPr marL="2321798" algn="l" defTabSz="928718" rtl="0" eaLnBrk="1" latinLnBrk="0" hangingPunct="1">
        <a:defRPr sz="1837" kern="1200">
          <a:solidFill>
            <a:schemeClr val="tx1"/>
          </a:solidFill>
          <a:latin typeface="+mn-lt"/>
          <a:ea typeface="+mn-ea"/>
          <a:cs typeface="+mn-cs"/>
        </a:defRPr>
      </a:lvl6pPr>
      <a:lvl7pPr marL="2786156" algn="l" defTabSz="928718" rtl="0" eaLnBrk="1" latinLnBrk="0" hangingPunct="1">
        <a:defRPr sz="1837" kern="1200">
          <a:solidFill>
            <a:schemeClr val="tx1"/>
          </a:solidFill>
          <a:latin typeface="+mn-lt"/>
          <a:ea typeface="+mn-ea"/>
          <a:cs typeface="+mn-cs"/>
        </a:defRPr>
      </a:lvl7pPr>
      <a:lvl8pPr marL="3250517" algn="l" defTabSz="928718" rtl="0" eaLnBrk="1" latinLnBrk="0" hangingPunct="1">
        <a:defRPr sz="1837" kern="1200">
          <a:solidFill>
            <a:schemeClr val="tx1"/>
          </a:solidFill>
          <a:latin typeface="+mn-lt"/>
          <a:ea typeface="+mn-ea"/>
          <a:cs typeface="+mn-cs"/>
        </a:defRPr>
      </a:lvl8pPr>
      <a:lvl9pPr marL="3714878" algn="l" defTabSz="928718" rtl="0" eaLnBrk="1" latinLnBrk="0" hangingPunct="1">
        <a:defRPr sz="183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hyperlink" Target="https://doi.org/10.1097/ADM.0000000000000150" TargetMode="Externa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hyperlink" Target="https://web.archive.org/web/20120813025045/http:/www.christopherreeve.org:80/atf/cf/%7B173bca02-3665-49ab-9378-be009c58a5d3%7D/SUBSTANCE%20ABUSE%20AND%20DISABILITY%208-10.PDF" TargetMode="Externa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hyperlink" Target="https://www.cdc.gov/ncbddd/disabilityandhealth/smoking-in-adults.html#:~:text=Current%20cigarette%20smoking%20is%20significantly,adults%20without%20disabilities%20(3.9%25)" TargetMode="External"/><Relationship Id="rId2" Type="http://schemas.openxmlformats.org/officeDocument/2006/relationships/hyperlink" Target="https://www.mass.gov/doc/youth-tobacco-use-in-massachusetts-survey-results-from-1995-to-2017-0/download" TargetMode="Externa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hyperlink" Target="https://www.mass.gov/info-details/eohhs-quality-measure-alignment-taskforce" TargetMode="Externa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sz="quarter" idx="1"/>
          </p:nvPr>
        </p:nvSpPr>
        <p:spPr/>
        <p:txBody>
          <a:bodyPr>
            <a:normAutofit/>
          </a:bodyPr>
          <a:lstStyle/>
          <a:p>
            <a:pPr>
              <a:buNone/>
            </a:pPr>
            <a:r>
              <a:rPr lang="en-US" b="1" cap="all"/>
              <a:t>EOHHS Quality Measure alignment taskforce </a:t>
            </a:r>
          </a:p>
          <a:p>
            <a:endParaRPr lang="en-US"/>
          </a:p>
        </p:txBody>
      </p:sp>
      <p:sp>
        <p:nvSpPr>
          <p:cNvPr id="3" name="Text Placeholder 1"/>
          <p:cNvSpPr txBox="1">
            <a:spLocks/>
          </p:cNvSpPr>
          <p:nvPr/>
        </p:nvSpPr>
        <p:spPr>
          <a:xfrm>
            <a:off x="4515416" y="5943600"/>
            <a:ext cx="3923168" cy="533401"/>
          </a:xfrm>
          <a:prstGeom prst="rect">
            <a:avLst/>
          </a:prstGeom>
        </p:spPr>
        <p:txBody>
          <a:bodyPr>
            <a:normAutofit fontScale="62500" lnSpcReduction="20000"/>
          </a:bodyPr>
          <a:lst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a:lstStyle>
          <a:p>
            <a:pPr marL="0" indent="0" algn="ctr">
              <a:buNone/>
            </a:pPr>
            <a:r>
              <a:rPr lang="en-US"/>
              <a:t>Meeting #40</a:t>
            </a:r>
          </a:p>
          <a:p>
            <a:pPr marL="0" indent="0" algn="ctr">
              <a:buNone/>
            </a:pPr>
            <a:r>
              <a:rPr lang="en-US"/>
              <a:t>November 18, 2020</a:t>
            </a:r>
          </a:p>
        </p:txBody>
      </p:sp>
    </p:spTree>
    <p:extLst>
      <p:ext uri="{BB962C8B-B14F-4D97-AF65-F5344CB8AC3E}">
        <p14:creationId xmlns:p14="http://schemas.microsoft.com/office/powerpoint/2010/main" val="1210250860"/>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A0A91-8B41-48FE-A4A4-CA9D55288692}"/>
              </a:ext>
            </a:extLst>
          </p:cNvPr>
          <p:cNvSpPr>
            <a:spLocks noGrp="1"/>
          </p:cNvSpPr>
          <p:nvPr>
            <p:ph type="title"/>
          </p:nvPr>
        </p:nvSpPr>
        <p:spPr/>
        <p:txBody>
          <a:bodyPr/>
          <a:lstStyle/>
          <a:p>
            <a:r>
              <a:rPr lang="en-US" sz="2400">
                <a:cs typeface="Times New Roman" panose="02020603050405020304" pitchFamily="18" charset="0"/>
              </a:rPr>
              <a:t>Review Non-Measure Specific Public Comments</a:t>
            </a:r>
            <a:endParaRPr lang="en-US"/>
          </a:p>
        </p:txBody>
      </p:sp>
      <p:sp>
        <p:nvSpPr>
          <p:cNvPr id="3" name="Content Placeholder 2">
            <a:extLst>
              <a:ext uri="{FF2B5EF4-FFF2-40B4-BE49-F238E27FC236}">
                <a16:creationId xmlns:a16="http://schemas.microsoft.com/office/drawing/2014/main" id="{3DDF3C43-1B02-4850-9B9B-07DB523DC5AA}"/>
              </a:ext>
            </a:extLst>
          </p:cNvPr>
          <p:cNvSpPr>
            <a:spLocks noGrp="1"/>
          </p:cNvSpPr>
          <p:nvPr>
            <p:ph sz="half" idx="1"/>
          </p:nvPr>
        </p:nvSpPr>
        <p:spPr>
          <a:xfrm>
            <a:off x="533400" y="1104314"/>
            <a:ext cx="8077200" cy="4556234"/>
          </a:xfrm>
        </p:spPr>
        <p:txBody>
          <a:bodyPr/>
          <a:lstStyle/>
          <a:p>
            <a:r>
              <a:rPr lang="en-US" b="0"/>
              <a:t>Substantive feedback was received in the following areas:</a:t>
            </a:r>
          </a:p>
          <a:p>
            <a:pPr lvl="1">
              <a:spcAft>
                <a:spcPts val="600"/>
              </a:spcAft>
            </a:pPr>
            <a:r>
              <a:rPr lang="en-US" b="0"/>
              <a:t>General Feedback</a:t>
            </a:r>
          </a:p>
          <a:p>
            <a:pPr lvl="1"/>
            <a:r>
              <a:rPr lang="en-US" b="0"/>
              <a:t>Measure Topics</a:t>
            </a:r>
          </a:p>
          <a:p>
            <a:r>
              <a:rPr lang="en-US" b="0"/>
              <a:t>There were several comments received that are either addressed already or out of scope. These are not included for discussion.</a:t>
            </a:r>
          </a:p>
          <a:p>
            <a:pPr lvl="1"/>
            <a:endParaRPr lang="en-US" b="0"/>
          </a:p>
          <a:p>
            <a:pPr lvl="1"/>
            <a:endParaRPr lang="en-US" b="0"/>
          </a:p>
        </p:txBody>
      </p:sp>
    </p:spTree>
    <p:extLst>
      <p:ext uri="{BB962C8B-B14F-4D97-AF65-F5344CB8AC3E}">
        <p14:creationId xmlns:p14="http://schemas.microsoft.com/office/powerpoint/2010/main" val="3467530768"/>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A0A91-8B41-48FE-A4A4-CA9D55288692}"/>
              </a:ext>
            </a:extLst>
          </p:cNvPr>
          <p:cNvSpPr>
            <a:spLocks noGrp="1"/>
          </p:cNvSpPr>
          <p:nvPr>
            <p:ph type="title"/>
          </p:nvPr>
        </p:nvSpPr>
        <p:spPr/>
        <p:txBody>
          <a:bodyPr/>
          <a:lstStyle/>
          <a:p>
            <a:r>
              <a:rPr lang="en-US" sz="2400">
                <a:cs typeface="Times New Roman" panose="02020603050405020304" pitchFamily="18" charset="0"/>
              </a:rPr>
              <a:t>General Feedback</a:t>
            </a:r>
            <a:endParaRPr lang="en-US"/>
          </a:p>
        </p:txBody>
      </p:sp>
      <p:sp>
        <p:nvSpPr>
          <p:cNvPr id="3" name="Content Placeholder 2">
            <a:extLst>
              <a:ext uri="{FF2B5EF4-FFF2-40B4-BE49-F238E27FC236}">
                <a16:creationId xmlns:a16="http://schemas.microsoft.com/office/drawing/2014/main" id="{3DDF3C43-1B02-4850-9B9B-07DB523DC5AA}"/>
              </a:ext>
            </a:extLst>
          </p:cNvPr>
          <p:cNvSpPr>
            <a:spLocks noGrp="1"/>
          </p:cNvSpPr>
          <p:nvPr>
            <p:ph sz="half" idx="1"/>
          </p:nvPr>
        </p:nvSpPr>
        <p:spPr>
          <a:xfrm>
            <a:off x="340896" y="1104313"/>
            <a:ext cx="8610600" cy="5356645"/>
          </a:xfrm>
        </p:spPr>
        <p:txBody>
          <a:bodyPr/>
          <a:lstStyle/>
          <a:p>
            <a:pPr>
              <a:spcAft>
                <a:spcPts val="600"/>
              </a:spcAft>
            </a:pPr>
            <a:r>
              <a:rPr lang="en-US" sz="1900" dirty="0"/>
              <a:t>Changes to the Aligned Measure Set: </a:t>
            </a:r>
            <a:r>
              <a:rPr lang="en-US" sz="1900" b="0" dirty="0"/>
              <a:t>One organization said that it was premature to modify the Aligned Measure Set as it was only recently adopted and to await experience with implementation.</a:t>
            </a:r>
          </a:p>
          <a:p>
            <a:pPr lvl="1">
              <a:spcAft>
                <a:spcPts val="0"/>
              </a:spcAft>
            </a:pPr>
            <a:r>
              <a:rPr lang="en-US" sz="1800" b="0" dirty="0"/>
              <a:t>The 2021 Annual Review resulted in only a small number of changes.</a:t>
            </a:r>
          </a:p>
          <a:p>
            <a:pPr lvl="1"/>
            <a:r>
              <a:rPr lang="en-US" sz="1800" b="0" dirty="0"/>
              <a:t>Some changes are required annually due to measure changes.</a:t>
            </a:r>
          </a:p>
          <a:p>
            <a:pPr>
              <a:spcAft>
                <a:spcPts val="600"/>
              </a:spcAft>
            </a:pPr>
            <a:r>
              <a:rPr lang="en-US" sz="1900" dirty="0"/>
              <a:t>Number of Measures: </a:t>
            </a:r>
            <a:r>
              <a:rPr lang="en-US" sz="1900" b="0" dirty="0"/>
              <a:t>One organization recommended reducing the number of measures to, ideally to less than 15 inclusive of patient experience measures </a:t>
            </a:r>
          </a:p>
          <a:p>
            <a:pPr lvl="1">
              <a:spcAft>
                <a:spcPts val="0"/>
              </a:spcAft>
            </a:pPr>
            <a:r>
              <a:rPr lang="en-US" sz="1800" b="0" dirty="0"/>
              <a:t>The 2021 Aligned Measure Set includes four Core measures and 21 Menu measures.</a:t>
            </a:r>
          </a:p>
          <a:p>
            <a:pPr lvl="1"/>
            <a:r>
              <a:rPr lang="en-US" sz="1800" b="0" dirty="0"/>
              <a:t>The Menu Set is quite large.  Should the Taskforce aim to reduce its size and thereby improve alignment?</a:t>
            </a:r>
          </a:p>
          <a:p>
            <a:pPr>
              <a:spcAft>
                <a:spcPts val="600"/>
              </a:spcAft>
            </a:pPr>
            <a:r>
              <a:rPr lang="en-US" sz="1900" dirty="0"/>
              <a:t>Adequate Denominator Size: </a:t>
            </a:r>
            <a:r>
              <a:rPr lang="en-US" sz="1900" b="0" dirty="0"/>
              <a:t>One organization asked that the Implementation Parameters clarify what is considered an adequate denominator to report a statistically valid rate.</a:t>
            </a:r>
          </a:p>
          <a:p>
            <a:pPr lvl="1"/>
            <a:r>
              <a:rPr lang="en-US" sz="1800" b="0" dirty="0"/>
              <a:t>The Guiding Principles for Use of the Aligned Measure Set in Contracts touch on this topic, but don’t provide the direction requested by the commenter.</a:t>
            </a:r>
            <a:endParaRPr lang="en-US" sz="1800" dirty="0"/>
          </a:p>
          <a:p>
            <a:pPr lvl="1"/>
            <a:endParaRPr lang="en-US" b="0" dirty="0"/>
          </a:p>
          <a:p>
            <a:pPr lvl="1"/>
            <a:endParaRPr lang="en-US" b="0" dirty="0"/>
          </a:p>
        </p:txBody>
      </p:sp>
    </p:spTree>
    <p:extLst>
      <p:ext uri="{BB962C8B-B14F-4D97-AF65-F5344CB8AC3E}">
        <p14:creationId xmlns:p14="http://schemas.microsoft.com/office/powerpoint/2010/main" val="228985638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animEffect transition="in" filter="fade">
                                      <p:cBhvr>
                                        <p:cTn id="7" dur="1000"/>
                                        <p:tgtEl>
                                          <p:spTgt spid="3">
                                            <p:txEl>
                                              <p:pRg st="3" end="3"/>
                                            </p:txEl>
                                          </p:spTgt>
                                        </p:tgtEl>
                                      </p:cBhvr>
                                    </p:animEffect>
                                    <p:anim calcmode="lin" valueType="num">
                                      <p:cBhvr>
                                        <p:cTn id="8"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3" end="3"/>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xEl>
                                              <p:pRg st="4" end="4"/>
                                            </p:txEl>
                                          </p:spTgt>
                                        </p:tgtEl>
                                        <p:attrNameLst>
                                          <p:attrName>style.visibility</p:attrName>
                                        </p:attrNameLst>
                                      </p:cBhvr>
                                      <p:to>
                                        <p:strVal val="visible"/>
                                      </p:to>
                                    </p:set>
                                    <p:animEffect transition="in" filter="fade">
                                      <p:cBhvr>
                                        <p:cTn id="12" dur="1000"/>
                                        <p:tgtEl>
                                          <p:spTgt spid="3">
                                            <p:txEl>
                                              <p:pRg st="4" end="4"/>
                                            </p:txEl>
                                          </p:spTgt>
                                        </p:tgtEl>
                                      </p:cBhvr>
                                    </p:animEffect>
                                    <p:anim calcmode="lin" valueType="num">
                                      <p:cBhvr>
                                        <p:cTn id="13"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4" end="4"/>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animEffect transition="in" filter="fade">
                                      <p:cBhvr>
                                        <p:cTn id="17" dur="1000"/>
                                        <p:tgtEl>
                                          <p:spTgt spid="3">
                                            <p:txEl>
                                              <p:pRg st="5" end="5"/>
                                            </p:txEl>
                                          </p:spTgt>
                                        </p:tgtEl>
                                      </p:cBhvr>
                                    </p:animEffect>
                                    <p:anim calcmode="lin" valueType="num">
                                      <p:cBhvr>
                                        <p:cTn id="18"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19" dur="10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nodeType="clickEffect">
                                  <p:stCondLst>
                                    <p:cond delay="0"/>
                                  </p:stCondLst>
                                  <p:childTnLst>
                                    <p:set>
                                      <p:cBhvr>
                                        <p:cTn id="23" dur="1" fill="hold">
                                          <p:stCondLst>
                                            <p:cond delay="0"/>
                                          </p:stCondLst>
                                        </p:cTn>
                                        <p:tgtEl>
                                          <p:spTgt spid="3">
                                            <p:txEl>
                                              <p:pRg st="6" end="6"/>
                                            </p:txEl>
                                          </p:spTgt>
                                        </p:tgtEl>
                                        <p:attrNameLst>
                                          <p:attrName>style.visibility</p:attrName>
                                        </p:attrNameLst>
                                      </p:cBhvr>
                                      <p:to>
                                        <p:strVal val="visible"/>
                                      </p:to>
                                    </p:set>
                                    <p:animEffect transition="in" filter="fade">
                                      <p:cBhvr>
                                        <p:cTn id="24" dur="1000"/>
                                        <p:tgtEl>
                                          <p:spTgt spid="3">
                                            <p:txEl>
                                              <p:pRg st="6" end="6"/>
                                            </p:txEl>
                                          </p:spTgt>
                                        </p:tgtEl>
                                      </p:cBhvr>
                                    </p:animEffect>
                                    <p:anim calcmode="lin" valueType="num">
                                      <p:cBhvr>
                                        <p:cTn id="25"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26" dur="1000" fill="hold"/>
                                        <p:tgtEl>
                                          <p:spTgt spid="3">
                                            <p:txEl>
                                              <p:pRg st="6" end="6"/>
                                            </p:txEl>
                                          </p:spTgt>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0"/>
                                  </p:stCondLst>
                                  <p:childTnLst>
                                    <p:set>
                                      <p:cBhvr>
                                        <p:cTn id="28" dur="1" fill="hold">
                                          <p:stCondLst>
                                            <p:cond delay="0"/>
                                          </p:stCondLst>
                                        </p:cTn>
                                        <p:tgtEl>
                                          <p:spTgt spid="3">
                                            <p:txEl>
                                              <p:pRg st="7" end="7"/>
                                            </p:txEl>
                                          </p:spTgt>
                                        </p:tgtEl>
                                        <p:attrNameLst>
                                          <p:attrName>style.visibility</p:attrName>
                                        </p:attrNameLst>
                                      </p:cBhvr>
                                      <p:to>
                                        <p:strVal val="visible"/>
                                      </p:to>
                                    </p:set>
                                    <p:animEffect transition="in" filter="fade">
                                      <p:cBhvr>
                                        <p:cTn id="29" dur="1000"/>
                                        <p:tgtEl>
                                          <p:spTgt spid="3">
                                            <p:txEl>
                                              <p:pRg st="7" end="7"/>
                                            </p:txEl>
                                          </p:spTgt>
                                        </p:tgtEl>
                                      </p:cBhvr>
                                    </p:animEffect>
                                    <p:anim calcmode="lin" valueType="num">
                                      <p:cBhvr>
                                        <p:cTn id="30" dur="1000" fill="hold"/>
                                        <p:tgtEl>
                                          <p:spTgt spid="3">
                                            <p:txEl>
                                              <p:pRg st="7" end="7"/>
                                            </p:txEl>
                                          </p:spTgt>
                                        </p:tgtEl>
                                        <p:attrNameLst>
                                          <p:attrName>ppt_x</p:attrName>
                                        </p:attrNameLst>
                                      </p:cBhvr>
                                      <p:tavLst>
                                        <p:tav tm="0">
                                          <p:val>
                                            <p:strVal val="#ppt_x"/>
                                          </p:val>
                                        </p:tav>
                                        <p:tav tm="100000">
                                          <p:val>
                                            <p:strVal val="#ppt_x"/>
                                          </p:val>
                                        </p:tav>
                                      </p:tavLst>
                                    </p:anim>
                                    <p:anim calcmode="lin" valueType="num">
                                      <p:cBhvr>
                                        <p:cTn id="31" dur="1000" fill="hold"/>
                                        <p:tgtEl>
                                          <p:spTgt spid="3">
                                            <p:txEl>
                                              <p:pRg st="7" end="7"/>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A0A91-8B41-48FE-A4A4-CA9D55288692}"/>
              </a:ext>
            </a:extLst>
          </p:cNvPr>
          <p:cNvSpPr>
            <a:spLocks noGrp="1"/>
          </p:cNvSpPr>
          <p:nvPr>
            <p:ph type="title"/>
          </p:nvPr>
        </p:nvSpPr>
        <p:spPr/>
        <p:txBody>
          <a:bodyPr/>
          <a:lstStyle/>
          <a:p>
            <a:r>
              <a:rPr lang="en-US">
                <a:cs typeface="Times New Roman" panose="02020603050405020304" pitchFamily="18" charset="0"/>
              </a:rPr>
              <a:t>Measure Topics</a:t>
            </a:r>
            <a:endParaRPr lang="en-US"/>
          </a:p>
        </p:txBody>
      </p:sp>
      <p:sp>
        <p:nvSpPr>
          <p:cNvPr id="3" name="Content Placeholder 2">
            <a:extLst>
              <a:ext uri="{FF2B5EF4-FFF2-40B4-BE49-F238E27FC236}">
                <a16:creationId xmlns:a16="http://schemas.microsoft.com/office/drawing/2014/main" id="{3DDF3C43-1B02-4850-9B9B-07DB523DC5AA}"/>
              </a:ext>
            </a:extLst>
          </p:cNvPr>
          <p:cNvSpPr>
            <a:spLocks noGrp="1"/>
          </p:cNvSpPr>
          <p:nvPr>
            <p:ph sz="half" idx="1"/>
          </p:nvPr>
        </p:nvSpPr>
        <p:spPr>
          <a:xfrm>
            <a:off x="346539" y="983442"/>
            <a:ext cx="8113295" cy="5188201"/>
          </a:xfrm>
        </p:spPr>
        <p:txBody>
          <a:bodyPr/>
          <a:lstStyle/>
          <a:p>
            <a:r>
              <a:rPr lang="en-US"/>
              <a:t>Does the Taskforce wish to consider any of these six topics in the annual review for the 2022 measure set?</a:t>
            </a:r>
          </a:p>
          <a:p>
            <a:pPr lvl="1"/>
            <a:endParaRPr lang="en-US" b="0"/>
          </a:p>
          <a:p>
            <a:pPr lvl="1"/>
            <a:endParaRPr lang="en-US" b="0"/>
          </a:p>
          <a:p>
            <a:pPr lvl="1"/>
            <a:endParaRPr lang="en-US" b="0"/>
          </a:p>
        </p:txBody>
      </p:sp>
      <p:graphicFrame>
        <p:nvGraphicFramePr>
          <p:cNvPr id="4" name="Table 4">
            <a:extLst>
              <a:ext uri="{FF2B5EF4-FFF2-40B4-BE49-F238E27FC236}">
                <a16:creationId xmlns:a16="http://schemas.microsoft.com/office/drawing/2014/main" id="{3A40D677-0DAD-40CC-91E9-65BA9D8CD34B}"/>
              </a:ext>
            </a:extLst>
          </p:cNvPr>
          <p:cNvGraphicFramePr>
            <a:graphicFrameLocks noGrp="1"/>
          </p:cNvGraphicFramePr>
          <p:nvPr>
            <p:extLst>
              <p:ext uri="{D42A27DB-BD31-4B8C-83A1-F6EECF244321}">
                <p14:modId xmlns:p14="http://schemas.microsoft.com/office/powerpoint/2010/main" val="348283249"/>
              </p:ext>
            </p:extLst>
          </p:nvPr>
        </p:nvGraphicFramePr>
        <p:xfrm>
          <a:off x="239540" y="1740968"/>
          <a:ext cx="8693445" cy="4770120"/>
        </p:xfrm>
        <a:graphic>
          <a:graphicData uri="http://schemas.openxmlformats.org/drawingml/2006/table">
            <a:tbl>
              <a:tblPr firstRow="1" bandRow="1">
                <a:tableStyleId>{5C22544A-7EE6-4342-B048-85BDC9FD1C3A}</a:tableStyleId>
              </a:tblPr>
              <a:tblGrid>
                <a:gridCol w="2568974">
                  <a:extLst>
                    <a:ext uri="{9D8B030D-6E8A-4147-A177-3AD203B41FA5}">
                      <a16:colId xmlns:a16="http://schemas.microsoft.com/office/drawing/2014/main" val="2473076691"/>
                    </a:ext>
                  </a:extLst>
                </a:gridCol>
                <a:gridCol w="6124471">
                  <a:extLst>
                    <a:ext uri="{9D8B030D-6E8A-4147-A177-3AD203B41FA5}">
                      <a16:colId xmlns:a16="http://schemas.microsoft.com/office/drawing/2014/main" val="150067590"/>
                    </a:ext>
                  </a:extLst>
                </a:gridCol>
              </a:tblGrid>
              <a:tr h="229704">
                <a:tc>
                  <a:txBody>
                    <a:bodyPr/>
                    <a:lstStyle/>
                    <a:p>
                      <a:r>
                        <a:rPr lang="en-US" sz="1700">
                          <a:latin typeface="Book Antiqua" panose="02040602050305030304" pitchFamily="18" charset="0"/>
                        </a:rPr>
                        <a:t>Suggested Topi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700">
                          <a:latin typeface="Book Antiqua" panose="02040602050305030304" pitchFamily="18" charset="0"/>
                        </a:rPr>
                        <a:t>Contextual Inform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3940275129"/>
                  </a:ext>
                </a:extLst>
              </a:tr>
              <a:tr h="10761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700" b="0" dirty="0">
                          <a:latin typeface="Book Antiqua" panose="02040602050305030304" pitchFamily="18" charset="0"/>
                        </a:rPr>
                        <a:t>1. N</a:t>
                      </a:r>
                      <a:r>
                        <a:rPr lang="en-US" sz="1700" b="0" dirty="0">
                          <a:effectLst/>
                          <a:latin typeface="Book Antiqua" panose="02040602050305030304" pitchFamily="18" charset="0"/>
                        </a:rPr>
                        <a:t>onuse of antibiotics in </a:t>
                      </a:r>
                      <a:r>
                        <a:rPr lang="en-US" sz="1700" b="0" dirty="0">
                          <a:latin typeface="Book Antiqua" panose="02040602050305030304" pitchFamily="18" charset="0"/>
                        </a:rPr>
                        <a:t>children</a:t>
                      </a:r>
                      <a:r>
                        <a:rPr lang="en-US" sz="1700" b="0" dirty="0">
                          <a:effectLst/>
                          <a:latin typeface="Book Antiqua" panose="02040602050305030304" pitchFamily="18" charset="0"/>
                        </a:rPr>
                        <a:t> for upper respiratory tract infec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700" b="1">
                          <a:latin typeface="Book Antiqua" panose="02040602050305030304" pitchFamily="18" charset="0"/>
                        </a:rPr>
                        <a:t>12/18/17: </a:t>
                      </a:r>
                      <a:r>
                        <a:rPr lang="en-US" sz="1700">
                          <a:latin typeface="Book Antiqua" panose="02040602050305030304" pitchFamily="18" charset="0"/>
                        </a:rPr>
                        <a:t>The Taskforce decided not to include Appropriate Treatment for Children With Upper Respiratory Infection due to high performance. (CY2019 data show weighted average commercial performance remains above the National HEDIS 90</a:t>
                      </a:r>
                      <a:r>
                        <a:rPr lang="en-US" sz="1700" baseline="30000">
                          <a:latin typeface="Book Antiqua" panose="02040602050305030304" pitchFamily="18" charset="0"/>
                        </a:rPr>
                        <a:t>th</a:t>
                      </a:r>
                      <a:r>
                        <a:rPr lang="en-US" sz="1700">
                          <a:latin typeface="Book Antiqua" panose="02040602050305030304" pitchFamily="18" charset="0"/>
                        </a:rPr>
                        <a:t> percentile; MassHealth performance is also still topped out with average performance at 9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96119271"/>
                  </a:ext>
                </a:extLst>
              </a:tr>
              <a:tr h="9062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700" b="0" dirty="0">
                          <a:latin typeface="Book Antiqua" panose="02040602050305030304" pitchFamily="18" charset="0"/>
                        </a:rPr>
                        <a:t>2. N</a:t>
                      </a:r>
                      <a:r>
                        <a:rPr lang="en-US" sz="1700" b="0" dirty="0">
                          <a:effectLst/>
                          <a:latin typeface="Book Antiqua" panose="02040602050305030304" pitchFamily="18" charset="0"/>
                        </a:rPr>
                        <a:t>onuse of antibiotics in bronchitis for adul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700" b="1">
                          <a:latin typeface="Book Antiqua" panose="02040602050305030304" pitchFamily="18" charset="0"/>
                        </a:rPr>
                        <a:t>12/18/17: </a:t>
                      </a:r>
                      <a:r>
                        <a:rPr lang="en-US" sz="1700">
                          <a:latin typeface="Book Antiqua" panose="02040602050305030304" pitchFamily="18" charset="0"/>
                        </a:rPr>
                        <a:t>The Taskforce decided not to include Avoidance of Antibiotic Treatment in Adults with Acute Bronchitis since the measure can be gamed by altering a patient’s diagnosis.  Members did not think the measure reduced inappropriate antibiotic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96603836"/>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700" b="0" dirty="0">
                          <a:latin typeface="Book Antiqua" panose="02040602050305030304" pitchFamily="18" charset="0"/>
                        </a:rPr>
                        <a:t>3. A pediatric developmental screener such as Modified Checklist for Autism in Toddler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700" b="1" dirty="0">
                          <a:latin typeface="Book Antiqua" panose="02040602050305030304" pitchFamily="18" charset="0"/>
                        </a:rPr>
                        <a:t>2021 Annual Review: </a:t>
                      </a:r>
                      <a:r>
                        <a:rPr lang="en-US" sz="1700" b="0" dirty="0">
                          <a:latin typeface="Book Antiqua" panose="02040602050305030304" pitchFamily="18" charset="0"/>
                        </a:rPr>
                        <a:t>The </a:t>
                      </a:r>
                      <a:r>
                        <a:rPr lang="en-US" sz="1700" dirty="0">
                          <a:latin typeface="Book Antiqua" panose="02040602050305030304" pitchFamily="18" charset="0"/>
                        </a:rPr>
                        <a:t>Taskforce committed to Developmental Screening in the First Three Years of Life as a priority developmental measure.  EOHHS continues to seek volunteers to test the measure.  This is a CMS Medicaid Child Core Set measu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02335924"/>
                  </a:ext>
                </a:extLst>
              </a:tr>
            </a:tbl>
          </a:graphicData>
        </a:graphic>
      </p:graphicFrame>
    </p:spTree>
    <p:extLst>
      <p:ext uri="{BB962C8B-B14F-4D97-AF65-F5344CB8AC3E}">
        <p14:creationId xmlns:p14="http://schemas.microsoft.com/office/powerpoint/2010/main" val="1231809821"/>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A0A91-8B41-48FE-A4A4-CA9D55288692}"/>
              </a:ext>
            </a:extLst>
          </p:cNvPr>
          <p:cNvSpPr>
            <a:spLocks noGrp="1"/>
          </p:cNvSpPr>
          <p:nvPr>
            <p:ph type="title"/>
          </p:nvPr>
        </p:nvSpPr>
        <p:spPr/>
        <p:txBody>
          <a:bodyPr/>
          <a:lstStyle/>
          <a:p>
            <a:r>
              <a:rPr lang="en-US">
                <a:cs typeface="Times New Roman" panose="02020603050405020304" pitchFamily="18" charset="0"/>
              </a:rPr>
              <a:t>Measure Topics</a:t>
            </a:r>
            <a:endParaRPr lang="en-US"/>
          </a:p>
        </p:txBody>
      </p:sp>
      <p:sp>
        <p:nvSpPr>
          <p:cNvPr id="3" name="Content Placeholder 2">
            <a:extLst>
              <a:ext uri="{FF2B5EF4-FFF2-40B4-BE49-F238E27FC236}">
                <a16:creationId xmlns:a16="http://schemas.microsoft.com/office/drawing/2014/main" id="{3DDF3C43-1B02-4850-9B9B-07DB523DC5AA}"/>
              </a:ext>
            </a:extLst>
          </p:cNvPr>
          <p:cNvSpPr>
            <a:spLocks noGrp="1"/>
          </p:cNvSpPr>
          <p:nvPr>
            <p:ph sz="half" idx="1"/>
          </p:nvPr>
        </p:nvSpPr>
        <p:spPr>
          <a:xfrm>
            <a:off x="346539" y="983442"/>
            <a:ext cx="8113295" cy="5188201"/>
          </a:xfrm>
        </p:spPr>
        <p:txBody>
          <a:bodyPr/>
          <a:lstStyle/>
          <a:p>
            <a:r>
              <a:rPr lang="en-US"/>
              <a:t>Does the Taskforce wish to consider any of these topics in the annual review?</a:t>
            </a:r>
          </a:p>
          <a:p>
            <a:pPr lvl="1"/>
            <a:endParaRPr lang="en-US" b="0"/>
          </a:p>
          <a:p>
            <a:pPr lvl="1"/>
            <a:endParaRPr lang="en-US" b="0"/>
          </a:p>
          <a:p>
            <a:pPr lvl="1"/>
            <a:endParaRPr lang="en-US" b="0"/>
          </a:p>
        </p:txBody>
      </p:sp>
      <p:graphicFrame>
        <p:nvGraphicFramePr>
          <p:cNvPr id="4" name="Table 4">
            <a:extLst>
              <a:ext uri="{FF2B5EF4-FFF2-40B4-BE49-F238E27FC236}">
                <a16:creationId xmlns:a16="http://schemas.microsoft.com/office/drawing/2014/main" id="{3A40D677-0DAD-40CC-91E9-65BA9D8CD34B}"/>
              </a:ext>
            </a:extLst>
          </p:cNvPr>
          <p:cNvGraphicFramePr>
            <a:graphicFrameLocks noGrp="1"/>
          </p:cNvGraphicFramePr>
          <p:nvPr>
            <p:extLst>
              <p:ext uri="{D42A27DB-BD31-4B8C-83A1-F6EECF244321}">
                <p14:modId xmlns:p14="http://schemas.microsoft.com/office/powerpoint/2010/main" val="3519334477"/>
              </p:ext>
            </p:extLst>
          </p:nvPr>
        </p:nvGraphicFramePr>
        <p:xfrm>
          <a:off x="239540" y="1718472"/>
          <a:ext cx="8665309" cy="4759960"/>
        </p:xfrm>
        <a:graphic>
          <a:graphicData uri="http://schemas.openxmlformats.org/drawingml/2006/table">
            <a:tbl>
              <a:tblPr firstRow="1" bandRow="1">
                <a:tableStyleId>{5C22544A-7EE6-4342-B048-85BDC9FD1C3A}</a:tableStyleId>
              </a:tblPr>
              <a:tblGrid>
                <a:gridCol w="2761812">
                  <a:extLst>
                    <a:ext uri="{9D8B030D-6E8A-4147-A177-3AD203B41FA5}">
                      <a16:colId xmlns:a16="http://schemas.microsoft.com/office/drawing/2014/main" val="2473076691"/>
                    </a:ext>
                  </a:extLst>
                </a:gridCol>
                <a:gridCol w="5903497">
                  <a:extLst>
                    <a:ext uri="{9D8B030D-6E8A-4147-A177-3AD203B41FA5}">
                      <a16:colId xmlns:a16="http://schemas.microsoft.com/office/drawing/2014/main" val="150067590"/>
                    </a:ext>
                  </a:extLst>
                </a:gridCol>
              </a:tblGrid>
              <a:tr h="370840">
                <a:tc>
                  <a:txBody>
                    <a:bodyPr/>
                    <a:lstStyle/>
                    <a:p>
                      <a:r>
                        <a:rPr lang="en-US" sz="1800">
                          <a:latin typeface="Book Antiqua" panose="02040602050305030304" pitchFamily="18" charset="0"/>
                        </a:rPr>
                        <a:t>Suggested Topi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800">
                          <a:latin typeface="Book Antiqua" panose="02040602050305030304" pitchFamily="18" charset="0"/>
                        </a:rPr>
                        <a:t>Contextual Inform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394027512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dirty="0">
                          <a:effectLst/>
                          <a:latin typeface="Book Antiqua" panose="02040602050305030304" pitchFamily="18" charset="0"/>
                        </a:rPr>
                        <a:t>4. Social </a:t>
                      </a:r>
                      <a:r>
                        <a:rPr lang="en-US" sz="1800" b="0" dirty="0">
                          <a:latin typeface="Book Antiqua" panose="02040602050305030304" pitchFamily="18" charset="0"/>
                        </a:rPr>
                        <a:t>d</a:t>
                      </a:r>
                      <a:r>
                        <a:rPr lang="en-US" sz="1800" b="0" dirty="0">
                          <a:effectLst/>
                          <a:latin typeface="Book Antiqua" panose="02040602050305030304" pitchFamily="18" charset="0"/>
                        </a:rPr>
                        <a:t>eterminants of healt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b="1">
                          <a:latin typeface="Book Antiqua" panose="02040602050305030304" pitchFamily="18" charset="0"/>
                        </a:rPr>
                        <a:t>9/25/18:</a:t>
                      </a:r>
                      <a:r>
                        <a:rPr lang="en-US" sz="1800">
                          <a:latin typeface="Book Antiqua" panose="02040602050305030304" pitchFamily="18" charset="0"/>
                        </a:rPr>
                        <a:t> The Taskforce chose not to prioritize measure development in this area. </a:t>
                      </a:r>
                    </a:p>
                    <a:p>
                      <a:r>
                        <a:rPr lang="en-US" sz="1800" b="1">
                          <a:latin typeface="Book Antiqua" panose="02040602050305030304" pitchFamily="18" charset="0"/>
                        </a:rPr>
                        <a:t>1/23/19: </a:t>
                      </a:r>
                      <a:r>
                        <a:rPr lang="en-US" sz="1800" b="0">
                          <a:latin typeface="Book Antiqua" panose="02040602050305030304" pitchFamily="18" charset="0"/>
                        </a:rPr>
                        <a:t>The </a:t>
                      </a:r>
                      <a:r>
                        <a:rPr lang="en-US" sz="1800">
                          <a:latin typeface="Book Antiqua" panose="02040602050305030304" pitchFamily="18" charset="0"/>
                        </a:rPr>
                        <a:t>Taskforce recommended that MassHealth’s Health-Related Social Needs Screening be considered an innovation measure but adopted not to adopt it.</a:t>
                      </a:r>
                    </a:p>
                    <a:p>
                      <a:r>
                        <a:rPr lang="en-US" sz="1800">
                          <a:latin typeface="Book Antiqua" panose="02040602050305030304" pitchFamily="18" charset="0"/>
                        </a:rPr>
                        <a:t>(Rhode Island has also developed an ACO social risk factor screening measu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1392625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dirty="0">
                          <a:latin typeface="Book Antiqua" panose="02040602050305030304" pitchFamily="18" charset="0"/>
                        </a:rPr>
                        <a:t>5. Chronic pai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b="1" dirty="0">
                          <a:latin typeface="Book Antiqua" panose="02040602050305030304" pitchFamily="18" charset="0"/>
                        </a:rPr>
                        <a:t>3/12/18: </a:t>
                      </a:r>
                      <a:r>
                        <a:rPr lang="en-US" sz="1800" dirty="0">
                          <a:latin typeface="Book Antiqua" panose="02040602050305030304" pitchFamily="18" charset="0"/>
                        </a:rPr>
                        <a:t>The Taskforce discussed CMS’s Pain Assessment and Follow-up measure but did not endorse the measure as it seemed bureaucratic.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02542972"/>
                  </a:ext>
                </a:extLst>
              </a:tr>
              <a:tr h="370840">
                <a:tc>
                  <a:txBody>
                    <a:bodyPr/>
                    <a:lstStyle/>
                    <a:p>
                      <a:r>
                        <a:rPr lang="en-US" sz="1800" b="0" dirty="0">
                          <a:latin typeface="Book Antiqua" panose="02040602050305030304" pitchFamily="18" charset="0"/>
                        </a:rPr>
                        <a:t>6. A</a:t>
                      </a:r>
                      <a:r>
                        <a:rPr lang="en-US" sz="1800" b="0" dirty="0">
                          <a:effectLst/>
                          <a:latin typeface="Book Antiqua" panose="02040602050305030304" pitchFamily="18" charset="0"/>
                        </a:rPr>
                        <a:t>lcohol or drug use </a:t>
                      </a:r>
                      <a:endParaRPr lang="en-US" sz="1800" dirty="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b="1" dirty="0">
                          <a:effectLst/>
                          <a:latin typeface="Book Antiqua" panose="02040602050305030304" pitchFamily="18" charset="0"/>
                        </a:rPr>
                        <a:t>2021 Annual Review: </a:t>
                      </a:r>
                      <a:r>
                        <a:rPr lang="en-US" sz="1800" b="0" dirty="0">
                          <a:effectLst/>
                          <a:latin typeface="Book Antiqua" panose="02040602050305030304" pitchFamily="18" charset="0"/>
                        </a:rPr>
                        <a:t>Risk of Continued Opioid Use, Continuity of Pharmacotherapy for Opioid Use Disorder, and IET are in the Menu Set; the Taskforce committed to conducting a scan of substance use disorder measures during the next annual review.</a:t>
                      </a:r>
                      <a:endParaRPr lang="en-US" sz="1800" dirty="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46013048"/>
                  </a:ext>
                </a:extLst>
              </a:tr>
            </a:tbl>
          </a:graphicData>
        </a:graphic>
      </p:graphicFrame>
    </p:spTree>
    <p:extLst>
      <p:ext uri="{BB962C8B-B14F-4D97-AF65-F5344CB8AC3E}">
        <p14:creationId xmlns:p14="http://schemas.microsoft.com/office/powerpoint/2010/main" val="2741044330"/>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A0A91-8B41-48FE-A4A4-CA9D55288692}"/>
              </a:ext>
            </a:extLst>
          </p:cNvPr>
          <p:cNvSpPr>
            <a:spLocks noGrp="1"/>
          </p:cNvSpPr>
          <p:nvPr>
            <p:ph type="title"/>
          </p:nvPr>
        </p:nvSpPr>
        <p:spPr/>
        <p:txBody>
          <a:bodyPr/>
          <a:lstStyle/>
          <a:p>
            <a:r>
              <a:rPr lang="en-US">
                <a:cs typeface="Times New Roman" panose="02020603050405020304" pitchFamily="18" charset="0"/>
              </a:rPr>
              <a:t>Measure Topics</a:t>
            </a:r>
            <a:endParaRPr lang="en-US"/>
          </a:p>
        </p:txBody>
      </p:sp>
      <p:sp>
        <p:nvSpPr>
          <p:cNvPr id="3" name="Content Placeholder 2">
            <a:extLst>
              <a:ext uri="{FF2B5EF4-FFF2-40B4-BE49-F238E27FC236}">
                <a16:creationId xmlns:a16="http://schemas.microsoft.com/office/drawing/2014/main" id="{3DDF3C43-1B02-4850-9B9B-07DB523DC5AA}"/>
              </a:ext>
            </a:extLst>
          </p:cNvPr>
          <p:cNvSpPr>
            <a:spLocks noGrp="1"/>
          </p:cNvSpPr>
          <p:nvPr>
            <p:ph sz="half" idx="1"/>
          </p:nvPr>
        </p:nvSpPr>
        <p:spPr>
          <a:xfrm>
            <a:off x="515353" y="1236662"/>
            <a:ext cx="8365628" cy="5511800"/>
          </a:xfrm>
        </p:spPr>
        <p:txBody>
          <a:bodyPr/>
          <a:lstStyle/>
          <a:p>
            <a:pPr>
              <a:spcAft>
                <a:spcPts val="600"/>
              </a:spcAft>
            </a:pPr>
            <a:r>
              <a:rPr lang="en-US" b="0"/>
              <a:t>Respondents recommended considering the following measures for the </a:t>
            </a:r>
            <a:r>
              <a:rPr lang="en-US" b="0" u="sng"/>
              <a:t>Core Set</a:t>
            </a:r>
            <a:r>
              <a:rPr lang="en-US" b="0"/>
              <a:t>:</a:t>
            </a:r>
          </a:p>
          <a:p>
            <a:pPr>
              <a:spcAft>
                <a:spcPts val="600"/>
              </a:spcAft>
            </a:pPr>
            <a:endParaRPr lang="en-US" b="0"/>
          </a:p>
          <a:p>
            <a:endParaRPr lang="en-US"/>
          </a:p>
          <a:p>
            <a:endParaRPr lang="en-US"/>
          </a:p>
          <a:p>
            <a:endParaRPr lang="en-US"/>
          </a:p>
          <a:p>
            <a:endParaRPr lang="en-US"/>
          </a:p>
          <a:p>
            <a:endParaRPr lang="en-US"/>
          </a:p>
          <a:p>
            <a:endParaRPr lang="en-US"/>
          </a:p>
          <a:p>
            <a:endParaRPr lang="en-US"/>
          </a:p>
          <a:p>
            <a:endParaRPr lang="en-US"/>
          </a:p>
          <a:p>
            <a:r>
              <a:rPr lang="en-US"/>
              <a:t>Does the Taskforce wish to consider any of these topics in the annual review?</a:t>
            </a:r>
          </a:p>
          <a:p>
            <a:pPr lvl="1"/>
            <a:endParaRPr lang="en-US" b="0"/>
          </a:p>
          <a:p>
            <a:pPr lvl="1"/>
            <a:endParaRPr lang="en-US" b="0"/>
          </a:p>
          <a:p>
            <a:pPr lvl="1"/>
            <a:endParaRPr lang="en-US" b="0"/>
          </a:p>
        </p:txBody>
      </p:sp>
      <p:graphicFrame>
        <p:nvGraphicFramePr>
          <p:cNvPr id="4" name="Table 3">
            <a:extLst>
              <a:ext uri="{FF2B5EF4-FFF2-40B4-BE49-F238E27FC236}">
                <a16:creationId xmlns:a16="http://schemas.microsoft.com/office/drawing/2014/main" id="{66A288AB-DCC7-49F4-84BA-7C9A2458D319}"/>
              </a:ext>
            </a:extLst>
          </p:cNvPr>
          <p:cNvGraphicFramePr>
            <a:graphicFrameLocks noGrp="1"/>
          </p:cNvGraphicFramePr>
          <p:nvPr>
            <p:extLst>
              <p:ext uri="{D42A27DB-BD31-4B8C-83A1-F6EECF244321}">
                <p14:modId xmlns:p14="http://schemas.microsoft.com/office/powerpoint/2010/main" val="1820225566"/>
              </p:ext>
            </p:extLst>
          </p:nvPr>
        </p:nvGraphicFramePr>
        <p:xfrm>
          <a:off x="302207" y="1981003"/>
          <a:ext cx="8578773" cy="3845560"/>
        </p:xfrm>
        <a:graphic>
          <a:graphicData uri="http://schemas.openxmlformats.org/drawingml/2006/table">
            <a:tbl>
              <a:tblPr firstRow="1" bandRow="1">
                <a:tableStyleId>{5C22544A-7EE6-4342-B048-85BDC9FD1C3A}</a:tableStyleId>
              </a:tblPr>
              <a:tblGrid>
                <a:gridCol w="2734231">
                  <a:extLst>
                    <a:ext uri="{9D8B030D-6E8A-4147-A177-3AD203B41FA5}">
                      <a16:colId xmlns:a16="http://schemas.microsoft.com/office/drawing/2014/main" val="1660375585"/>
                    </a:ext>
                  </a:extLst>
                </a:gridCol>
                <a:gridCol w="5844542">
                  <a:extLst>
                    <a:ext uri="{9D8B030D-6E8A-4147-A177-3AD203B41FA5}">
                      <a16:colId xmlns:a16="http://schemas.microsoft.com/office/drawing/2014/main" val="792256149"/>
                    </a:ext>
                  </a:extLst>
                </a:gridCol>
              </a:tblGrid>
              <a:tr h="370840">
                <a:tc>
                  <a:txBody>
                    <a:bodyPr/>
                    <a:lstStyle/>
                    <a:p>
                      <a:r>
                        <a:rPr lang="en-US" sz="1800">
                          <a:latin typeface="Book Antiqua" panose="02040602050305030304" pitchFamily="18" charset="0"/>
                        </a:rPr>
                        <a:t>Suggested Topi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800">
                          <a:latin typeface="Book Antiqua"/>
                        </a:rPr>
                        <a:t>Contextual Inform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404012119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a:effectLst/>
                          <a:latin typeface="Book Antiqua" panose="02040602050305030304" pitchFamily="18" charset="0"/>
                        </a:rPr>
                        <a:t>1. Cancer screening measu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a:latin typeface="Book Antiqua"/>
                        </a:rPr>
                        <a:t>The </a:t>
                      </a:r>
                      <a:r>
                        <a:rPr lang="en-US" sz="1800" b="1">
                          <a:latin typeface="Book Antiqua"/>
                        </a:rPr>
                        <a:t>2021 Aligned Measure Set</a:t>
                      </a:r>
                      <a:r>
                        <a:rPr lang="en-US" sz="1800">
                          <a:latin typeface="Book Antiqua"/>
                        </a:rPr>
                        <a:t> does not include any cancer screening measures in the Core Set but includes the following in the Menu Set: Breast Cancer Screening, Cervical Cancer Screening, and Colorectal Cancer Screen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4030708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a:latin typeface="Book Antiqua" panose="02040602050305030304" pitchFamily="18" charset="0"/>
                        </a:rPr>
                        <a:t>2. A pediatric measu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b="0">
                          <a:latin typeface="Book Antiqua"/>
                        </a:rPr>
                        <a:t>The </a:t>
                      </a:r>
                      <a:r>
                        <a:rPr lang="en-US" sz="1800" b="1">
                          <a:latin typeface="Book Antiqua"/>
                        </a:rPr>
                        <a:t>2021 Aligned Measure Set</a:t>
                      </a:r>
                      <a:r>
                        <a:rPr lang="en-US" sz="1800" b="0">
                          <a:latin typeface="Book Antiqua"/>
                        </a:rPr>
                        <a:t> includes CG-CAHPS (includes pediatrics) and Screening for Depression (includes adolescents) in the Core Set. The Menu Set includes 13 measures applicable to children or adolescents. The Taskforce also prioritized development of four pediatric measures; they await volunteers for pilot test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5744534"/>
                  </a:ext>
                </a:extLst>
              </a:tr>
            </a:tbl>
          </a:graphicData>
        </a:graphic>
      </p:graphicFrame>
    </p:spTree>
    <p:extLst>
      <p:ext uri="{BB962C8B-B14F-4D97-AF65-F5344CB8AC3E}">
        <p14:creationId xmlns:p14="http://schemas.microsoft.com/office/powerpoint/2010/main" val="346840921"/>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33400" y="1371600"/>
            <a:ext cx="8469923" cy="4556234"/>
          </a:xfrm>
        </p:spPr>
        <p:txBody>
          <a:bodyPr/>
          <a:lstStyle/>
          <a:p>
            <a:pPr marL="457200" indent="-457200">
              <a:buFont typeface="+mj-lt"/>
              <a:buAutoNum type="arabicPeriod"/>
            </a:pPr>
            <a:r>
              <a:rPr lang="en-US" sz="2200">
                <a:ea typeface="Times New Roman" panose="02020603050405020304" pitchFamily="18" charset="0"/>
                <a:cs typeface="Times New Roman" panose="02020603050405020304" pitchFamily="18" charset="0"/>
              </a:rPr>
              <a:t>Welcome</a:t>
            </a:r>
          </a:p>
          <a:p>
            <a:pPr marL="457200" indent="-457200">
              <a:buFont typeface="+mj-lt"/>
              <a:buAutoNum type="arabicPeriod"/>
            </a:pPr>
            <a:r>
              <a:rPr lang="en-US" sz="2200">
                <a:cs typeface="Times New Roman" panose="02020603050405020304" pitchFamily="18" charset="0"/>
              </a:rPr>
              <a:t>Follow-up items from October</a:t>
            </a:r>
          </a:p>
          <a:p>
            <a:pPr marL="457200" indent="-457200">
              <a:buFont typeface="+mj-lt"/>
              <a:buAutoNum type="arabicPeriod"/>
            </a:pPr>
            <a:r>
              <a:rPr lang="en-US" sz="2200">
                <a:cs typeface="Times New Roman" panose="02020603050405020304" pitchFamily="18" charset="0"/>
              </a:rPr>
              <a:t>Review non-measure specific public comments from 2021 annual review</a:t>
            </a:r>
          </a:p>
          <a:p>
            <a:pPr marL="457200" indent="-457200">
              <a:buFont typeface="+mj-lt"/>
              <a:buAutoNum type="arabicPeriod"/>
            </a:pPr>
            <a:r>
              <a:rPr lang="en-US" sz="2200">
                <a:cs typeface="Times New Roman" panose="02020603050405020304" pitchFamily="18" charset="0"/>
              </a:rPr>
              <a:t>Annual review process</a:t>
            </a:r>
          </a:p>
          <a:p>
            <a:pPr marL="457200" indent="-457200">
              <a:buFont typeface="+mj-lt"/>
              <a:buAutoNum type="arabicPeriod"/>
            </a:pPr>
            <a:r>
              <a:rPr lang="en-US" sz="2200">
                <a:cs typeface="Times New Roman" panose="02020603050405020304" pitchFamily="18" charset="0"/>
              </a:rPr>
              <a:t>Substance use disorder measures scan</a:t>
            </a:r>
          </a:p>
          <a:p>
            <a:pPr marL="457200" indent="-457200">
              <a:buFont typeface="+mj-lt"/>
              <a:buAutoNum type="arabicPeriod"/>
            </a:pPr>
            <a:r>
              <a:rPr lang="en-US" sz="2200">
                <a:latin typeface="Book Antiqua" panose="02040602050305030304" pitchFamily="18" charset="0"/>
              </a:rPr>
              <a:t>Revisit inclusion of a measure in the Core Set that requires reporting of RELD data</a:t>
            </a:r>
            <a:endParaRPr lang="en-US" sz="2200">
              <a:cs typeface="Times New Roman" panose="02020603050405020304" pitchFamily="18" charset="0"/>
            </a:endParaRPr>
          </a:p>
          <a:p>
            <a:pPr marL="457200" indent="-457200">
              <a:buFont typeface="+mj-lt"/>
              <a:buAutoNum type="arabicPeriod"/>
            </a:pPr>
            <a:r>
              <a:rPr lang="en-US" sz="2200">
                <a:cs typeface="Times New Roman" panose="02020603050405020304" pitchFamily="18" charset="0"/>
              </a:rPr>
              <a:t>Next steps</a:t>
            </a:r>
            <a:endParaRPr lang="en-US" sz="2200"/>
          </a:p>
        </p:txBody>
      </p:sp>
      <p:sp>
        <p:nvSpPr>
          <p:cNvPr id="5" name="Rectangle 4">
            <a:extLst>
              <a:ext uri="{FF2B5EF4-FFF2-40B4-BE49-F238E27FC236}">
                <a16:creationId xmlns:a16="http://schemas.microsoft.com/office/drawing/2014/main" id="{D3915D3D-656E-48AA-8D63-358A7E5AA453}"/>
              </a:ext>
            </a:extLst>
          </p:cNvPr>
          <p:cNvSpPr/>
          <p:nvPr/>
        </p:nvSpPr>
        <p:spPr>
          <a:xfrm>
            <a:off x="0" y="3071808"/>
            <a:ext cx="9144000" cy="647634"/>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43887270"/>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710C97-9381-48F0-98B3-11EDA7DE1A05}"/>
              </a:ext>
            </a:extLst>
          </p:cNvPr>
          <p:cNvSpPr>
            <a:spLocks noGrp="1"/>
          </p:cNvSpPr>
          <p:nvPr>
            <p:ph type="title"/>
          </p:nvPr>
        </p:nvSpPr>
        <p:spPr/>
        <p:txBody>
          <a:bodyPr/>
          <a:lstStyle/>
          <a:p>
            <a:r>
              <a:rPr lang="en-US"/>
              <a:t>Annual Review Process</a:t>
            </a:r>
          </a:p>
        </p:txBody>
      </p:sp>
      <p:graphicFrame>
        <p:nvGraphicFramePr>
          <p:cNvPr id="4" name="Table 4">
            <a:extLst>
              <a:ext uri="{FF2B5EF4-FFF2-40B4-BE49-F238E27FC236}">
                <a16:creationId xmlns:a16="http://schemas.microsoft.com/office/drawing/2014/main" id="{2BF16781-B2A9-4BFA-A6A2-944B11AC9EC1}"/>
              </a:ext>
            </a:extLst>
          </p:cNvPr>
          <p:cNvGraphicFramePr>
            <a:graphicFrameLocks noGrp="1"/>
          </p:cNvGraphicFramePr>
          <p:nvPr>
            <p:extLst>
              <p:ext uri="{D42A27DB-BD31-4B8C-83A1-F6EECF244321}">
                <p14:modId xmlns:p14="http://schemas.microsoft.com/office/powerpoint/2010/main" val="1543572722"/>
              </p:ext>
            </p:extLst>
          </p:nvPr>
        </p:nvGraphicFramePr>
        <p:xfrm>
          <a:off x="304800" y="1002553"/>
          <a:ext cx="8677832" cy="5125720"/>
        </p:xfrm>
        <a:graphic>
          <a:graphicData uri="http://schemas.openxmlformats.org/drawingml/2006/table">
            <a:tbl>
              <a:tblPr firstRow="1" bandRow="1">
                <a:tableStyleId>{5C22544A-7EE6-4342-B048-85BDC9FD1C3A}</a:tableStyleId>
              </a:tblPr>
              <a:tblGrid>
                <a:gridCol w="6417219">
                  <a:extLst>
                    <a:ext uri="{9D8B030D-6E8A-4147-A177-3AD203B41FA5}">
                      <a16:colId xmlns:a16="http://schemas.microsoft.com/office/drawing/2014/main" val="2134932523"/>
                    </a:ext>
                  </a:extLst>
                </a:gridCol>
                <a:gridCol w="2260613">
                  <a:extLst>
                    <a:ext uri="{9D8B030D-6E8A-4147-A177-3AD203B41FA5}">
                      <a16:colId xmlns:a16="http://schemas.microsoft.com/office/drawing/2014/main" val="1460023229"/>
                    </a:ext>
                  </a:extLst>
                </a:gridCol>
              </a:tblGrid>
              <a:tr h="370840">
                <a:tc>
                  <a:txBody>
                    <a:bodyPr/>
                    <a:lstStyle/>
                    <a:p>
                      <a:r>
                        <a:rPr lang="en-US">
                          <a:latin typeface="Book Antiqua" panose="02040602050305030304" pitchFamily="18" charset="0"/>
                        </a:rPr>
                        <a:t>Ste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a:latin typeface="Book Antiqua" panose="02040602050305030304" pitchFamily="18" charset="0"/>
                        </a:rPr>
                        <a:t>Tim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4236262252"/>
                  </a:ext>
                </a:extLst>
              </a:tr>
              <a:tr h="370840">
                <a:tc>
                  <a:txBody>
                    <a:bodyPr/>
                    <a:lstStyle/>
                    <a:p>
                      <a:r>
                        <a:rPr lang="en-US">
                          <a:latin typeface="Book Antiqua" panose="02040602050305030304" pitchFamily="18" charset="0"/>
                        </a:rPr>
                        <a:t>1. </a:t>
                      </a:r>
                      <a:r>
                        <a:rPr lang="en-US" b="1">
                          <a:latin typeface="Book Antiqua" panose="02040602050305030304" pitchFamily="18" charset="0"/>
                        </a:rPr>
                        <a:t>Background</a:t>
                      </a:r>
                    </a:p>
                    <a:p>
                      <a:pPr marL="285750" indent="-285750">
                        <a:buFont typeface="Arial" panose="020B0604020202020204" pitchFamily="34" charset="0"/>
                        <a:buChar char="•"/>
                      </a:pPr>
                      <a:r>
                        <a:rPr lang="en-US">
                          <a:latin typeface="Book Antiqua" panose="02040602050305030304" pitchFamily="18" charset="0"/>
                        </a:rPr>
                        <a:t>Measure selection criteria</a:t>
                      </a:r>
                    </a:p>
                    <a:p>
                      <a:pPr marL="285750" indent="-285750">
                        <a:buFont typeface="Arial" panose="020B0604020202020204" pitchFamily="34" charset="0"/>
                        <a:buChar char="•"/>
                      </a:pPr>
                      <a:r>
                        <a:rPr lang="en-US">
                          <a:latin typeface="Book Antiqua" panose="02040602050305030304" pitchFamily="18" charset="0"/>
                        </a:rPr>
                        <a:t>State prioriti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a:latin typeface="Book Antiqua" panose="02040602050305030304" pitchFamily="18" charset="0"/>
                        </a:rPr>
                        <a:t>Meeting 4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04863083"/>
                  </a:ext>
                </a:extLst>
              </a:tr>
              <a:tr h="370840">
                <a:tc>
                  <a:txBody>
                    <a:bodyPr/>
                    <a:lstStyle/>
                    <a:p>
                      <a:r>
                        <a:rPr lang="en-US">
                          <a:latin typeface="Book Antiqua" panose="02040602050305030304" pitchFamily="18" charset="0"/>
                        </a:rPr>
                        <a:t>2. </a:t>
                      </a:r>
                      <a:r>
                        <a:rPr lang="en-US" b="1">
                          <a:latin typeface="Book Antiqua" panose="02040602050305030304" pitchFamily="18" charset="0"/>
                        </a:rPr>
                        <a:t>Consideration of new measures</a:t>
                      </a:r>
                    </a:p>
                    <a:p>
                      <a:pPr marL="285750" indent="-285750">
                        <a:buFont typeface="Arial" panose="020B0604020202020204" pitchFamily="34" charset="0"/>
                        <a:buChar char="•"/>
                      </a:pPr>
                      <a:r>
                        <a:rPr lang="en-US">
                          <a:latin typeface="Book Antiqua" panose="02040602050305030304" pitchFamily="18" charset="0"/>
                        </a:rPr>
                        <a:t>Substance use disorder measures sca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atin typeface="Book Antiqua" panose="02040602050305030304" pitchFamily="18" charset="0"/>
                        </a:rPr>
                        <a:t>Revisit inclusion of a measure in the Core Set that requires reporting of RELD data (from October 21</a:t>
                      </a:r>
                      <a:r>
                        <a:rPr lang="en-US" baseline="30000">
                          <a:latin typeface="Book Antiqua" panose="02040602050305030304" pitchFamily="18" charset="0"/>
                        </a:rPr>
                        <a:t>st</a:t>
                      </a:r>
                      <a:r>
                        <a:rPr lang="en-US">
                          <a:latin typeface="Book Antiqua" panose="02040602050305030304" pitchFamily="18" charset="0"/>
                        </a:rPr>
                        <a:t> meet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atin typeface="Book Antiqua" panose="02040602050305030304" pitchFamily="18" charset="0"/>
                        </a:rPr>
                        <a:t>Care coordin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atin typeface="Book Antiqua" panose="02040602050305030304" pitchFamily="18" charset="0"/>
                        </a:rPr>
                        <a:t>Those identified from public comm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a:latin typeface="Book Antiqua" panose="02040602050305030304" pitchFamily="18" charset="0"/>
                        </a:rPr>
                        <a:t>Meetings 40 - 4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11349080"/>
                  </a:ext>
                </a:extLst>
              </a:tr>
              <a:tr h="370840">
                <a:tc>
                  <a:txBody>
                    <a:bodyPr/>
                    <a:lstStyle/>
                    <a:p>
                      <a:r>
                        <a:rPr lang="en-US">
                          <a:latin typeface="Book Antiqua" panose="02040602050305030304" pitchFamily="18" charset="0"/>
                        </a:rPr>
                        <a:t>3. </a:t>
                      </a:r>
                      <a:r>
                        <a:rPr lang="en-US" b="1">
                          <a:latin typeface="Book Antiqua" panose="02040602050305030304" pitchFamily="18" charset="0"/>
                        </a:rPr>
                        <a:t>Review of the existing measure set</a:t>
                      </a:r>
                    </a:p>
                    <a:p>
                      <a:pPr marL="285750" indent="-285750">
                        <a:buFont typeface="Arial" panose="020B0604020202020204" pitchFamily="34" charset="0"/>
                        <a:buChar char="•"/>
                      </a:pPr>
                      <a:r>
                        <a:rPr lang="en-US">
                          <a:latin typeface="Book Antiqua" panose="02040602050305030304" pitchFamily="18" charset="0"/>
                        </a:rPr>
                        <a:t>Use in contract (through review of the Quality Catalogue)</a:t>
                      </a:r>
                    </a:p>
                    <a:p>
                      <a:pPr marL="285750" indent="-285750">
                        <a:buFont typeface="Arial" panose="020B0604020202020204" pitchFamily="34" charset="0"/>
                        <a:buChar char="•"/>
                      </a:pPr>
                      <a:r>
                        <a:rPr lang="en-US">
                          <a:latin typeface="Book Antiqua" panose="02040602050305030304" pitchFamily="18" charset="0"/>
                        </a:rPr>
                        <a:t>Specification changes</a:t>
                      </a:r>
                    </a:p>
                    <a:p>
                      <a:pPr marL="285750" indent="-285750">
                        <a:buFont typeface="Arial" panose="020B0604020202020204" pitchFamily="34" charset="0"/>
                        <a:buChar char="•"/>
                      </a:pPr>
                      <a:r>
                        <a:rPr lang="en-US">
                          <a:latin typeface="Book Antiqua" panose="02040602050305030304" pitchFamily="18" charset="0"/>
                        </a:rPr>
                        <a:t>Recent performance</a:t>
                      </a:r>
                    </a:p>
                    <a:p>
                      <a:pPr marL="285750" indent="-285750">
                        <a:buFont typeface="Arial" panose="020B0604020202020204" pitchFamily="34" charset="0"/>
                        <a:buChar char="•"/>
                      </a:pPr>
                      <a:r>
                        <a:rPr lang="en-US">
                          <a:latin typeface="Book Antiqua" panose="02040602050305030304" pitchFamily="18" charset="0"/>
                        </a:rPr>
                        <a:t>Opportunities to promote health equ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a:latin typeface="Book Antiqua" panose="02040602050305030304" pitchFamily="18" charset="0"/>
                        </a:rPr>
                        <a:t>Meetings 40 - 4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72279457"/>
                  </a:ext>
                </a:extLst>
              </a:tr>
              <a:tr h="370840">
                <a:tc>
                  <a:txBody>
                    <a:bodyPr/>
                    <a:lstStyle/>
                    <a:p>
                      <a:r>
                        <a:rPr lang="en-US">
                          <a:latin typeface="Book Antiqua" panose="02040602050305030304" pitchFamily="18" charset="0"/>
                        </a:rPr>
                        <a:t>4. </a:t>
                      </a:r>
                      <a:r>
                        <a:rPr lang="en-US" b="1">
                          <a:latin typeface="Book Antiqua" panose="02040602050305030304" pitchFamily="18" charset="0"/>
                        </a:rPr>
                        <a:t>Revisit tentatively proposed changes and finalize the Aligned Measure Set for 202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a:latin typeface="Book Antiqua" panose="02040602050305030304" pitchFamily="18" charset="0"/>
                        </a:rPr>
                        <a:t>Meeting 4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78192272"/>
                  </a:ext>
                </a:extLst>
              </a:tr>
            </a:tbl>
          </a:graphicData>
        </a:graphic>
      </p:graphicFrame>
      <p:sp>
        <p:nvSpPr>
          <p:cNvPr id="7" name="TextBox 6">
            <a:extLst>
              <a:ext uri="{FF2B5EF4-FFF2-40B4-BE49-F238E27FC236}">
                <a16:creationId xmlns:a16="http://schemas.microsoft.com/office/drawing/2014/main" id="{748B19C1-E7D4-48D0-A896-4C8873DC0253}"/>
              </a:ext>
            </a:extLst>
          </p:cNvPr>
          <p:cNvSpPr txBox="1"/>
          <p:nvPr/>
        </p:nvSpPr>
        <p:spPr>
          <a:xfrm>
            <a:off x="161368" y="6128273"/>
            <a:ext cx="8982635" cy="584775"/>
          </a:xfrm>
          <a:prstGeom prst="rect">
            <a:avLst/>
          </a:prstGeom>
          <a:noFill/>
        </p:spPr>
        <p:txBody>
          <a:bodyPr wrap="square" rtlCol="0">
            <a:spAutoFit/>
          </a:bodyPr>
          <a:lstStyle/>
          <a:p>
            <a:r>
              <a:rPr lang="en-US" sz="1600">
                <a:latin typeface="Book Antiqua" panose="02040602050305030304" pitchFamily="18" charset="0"/>
              </a:rPr>
              <a:t>Ideally Steps 2 and 3 would be reversed, but the Taskforce is starting with new measures to allow time for Taskforce member organizations to share available data on health inequities.</a:t>
            </a:r>
          </a:p>
        </p:txBody>
      </p:sp>
    </p:spTree>
    <p:extLst>
      <p:ext uri="{BB962C8B-B14F-4D97-AF65-F5344CB8AC3E}">
        <p14:creationId xmlns:p14="http://schemas.microsoft.com/office/powerpoint/2010/main" val="690201876"/>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3D5ED4-7E21-42EC-AC41-E2587ABC4027}"/>
              </a:ext>
            </a:extLst>
          </p:cNvPr>
          <p:cNvSpPr>
            <a:spLocks noGrp="1"/>
          </p:cNvSpPr>
          <p:nvPr>
            <p:ph type="title"/>
          </p:nvPr>
        </p:nvSpPr>
        <p:spPr/>
        <p:txBody>
          <a:bodyPr/>
          <a:lstStyle/>
          <a:p>
            <a:r>
              <a:rPr lang="en-US"/>
              <a:t>Background </a:t>
            </a:r>
            <a:br>
              <a:rPr lang="en-US"/>
            </a:br>
            <a:r>
              <a:rPr lang="en-US"/>
              <a:t>Measure Selection Criteria</a:t>
            </a:r>
          </a:p>
        </p:txBody>
      </p:sp>
      <p:sp>
        <p:nvSpPr>
          <p:cNvPr id="3" name="Content Placeholder 2">
            <a:extLst>
              <a:ext uri="{FF2B5EF4-FFF2-40B4-BE49-F238E27FC236}">
                <a16:creationId xmlns:a16="http://schemas.microsoft.com/office/drawing/2014/main" id="{69A637CC-A6D3-43C2-A573-C252C5DD37E7}"/>
              </a:ext>
            </a:extLst>
          </p:cNvPr>
          <p:cNvSpPr>
            <a:spLocks noGrp="1"/>
          </p:cNvSpPr>
          <p:nvPr>
            <p:ph sz="half" idx="1"/>
          </p:nvPr>
        </p:nvSpPr>
        <p:spPr/>
        <p:txBody>
          <a:bodyPr/>
          <a:lstStyle/>
          <a:p>
            <a:pPr>
              <a:spcAft>
                <a:spcPts val="600"/>
              </a:spcAft>
            </a:pPr>
            <a:r>
              <a:rPr lang="en-US" b="0"/>
              <a:t>During the October 21</a:t>
            </a:r>
            <a:r>
              <a:rPr lang="en-US" b="0" baseline="30000"/>
              <a:t>st</a:t>
            </a:r>
            <a:r>
              <a:rPr lang="en-US" b="0"/>
              <a:t> Taskforce meeting, the Taskforce added consideration of health equity implications to the measure selection criteria. </a:t>
            </a:r>
          </a:p>
          <a:p>
            <a:pPr lvl="1"/>
            <a:r>
              <a:rPr lang="en-US" b="0"/>
              <a:t>The measure selection version we distributed in advance of the meeting reflects your feedback.</a:t>
            </a:r>
          </a:p>
          <a:p>
            <a:r>
              <a:rPr lang="en-US" b="0"/>
              <a:t>These criteria have been developed to guide the work of Taskforce members in recommending measures to the Secretary </a:t>
            </a:r>
            <a:r>
              <a:rPr lang="en-US" b="0" err="1"/>
              <a:t>Sudders</a:t>
            </a:r>
            <a:r>
              <a:rPr lang="en-US" b="0"/>
              <a:t> for 2022 measure set inclusion.</a:t>
            </a:r>
          </a:p>
          <a:p>
            <a:r>
              <a:rPr lang="en-US" b="0"/>
              <a:t>Please keep these criteria in mind throughout our annual review process.</a:t>
            </a:r>
          </a:p>
        </p:txBody>
      </p:sp>
    </p:spTree>
    <p:extLst>
      <p:ext uri="{BB962C8B-B14F-4D97-AF65-F5344CB8AC3E}">
        <p14:creationId xmlns:p14="http://schemas.microsoft.com/office/powerpoint/2010/main" val="4034940866"/>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109C13-2ACC-4015-AF58-3A819B01A2EA}"/>
              </a:ext>
            </a:extLst>
          </p:cNvPr>
          <p:cNvSpPr>
            <a:spLocks noGrp="1"/>
          </p:cNvSpPr>
          <p:nvPr>
            <p:ph type="title"/>
          </p:nvPr>
        </p:nvSpPr>
        <p:spPr/>
        <p:txBody>
          <a:bodyPr/>
          <a:lstStyle/>
          <a:p>
            <a:r>
              <a:rPr lang="en-US"/>
              <a:t>Background</a:t>
            </a:r>
            <a:br>
              <a:rPr lang="en-US"/>
            </a:br>
            <a:r>
              <a:rPr lang="en-US"/>
              <a:t>State Health Priorities</a:t>
            </a:r>
          </a:p>
        </p:txBody>
      </p:sp>
      <p:sp>
        <p:nvSpPr>
          <p:cNvPr id="3" name="Content Placeholder 2">
            <a:extLst>
              <a:ext uri="{FF2B5EF4-FFF2-40B4-BE49-F238E27FC236}">
                <a16:creationId xmlns:a16="http://schemas.microsoft.com/office/drawing/2014/main" id="{8BBE5596-3756-40D5-A8E5-AB4F6AD61112}"/>
              </a:ext>
            </a:extLst>
          </p:cNvPr>
          <p:cNvSpPr>
            <a:spLocks noGrp="1"/>
          </p:cNvSpPr>
          <p:nvPr>
            <p:ph sz="half" idx="1"/>
          </p:nvPr>
        </p:nvSpPr>
        <p:spPr>
          <a:xfrm>
            <a:off x="533400" y="1259059"/>
            <a:ext cx="8077200" cy="4556234"/>
          </a:xfrm>
        </p:spPr>
        <p:txBody>
          <a:bodyPr/>
          <a:lstStyle/>
          <a:p>
            <a:pPr marL="0" lvl="0" indent="0">
              <a:spcAft>
                <a:spcPts val="600"/>
              </a:spcAft>
              <a:buNone/>
            </a:pPr>
            <a:r>
              <a:rPr lang="en-US" b="0"/>
              <a:t>The Secretariat has identified the following as continuing state health priorities to be considered when discussing the 2022 measure set, despite the COVID-19 state of emergency:</a:t>
            </a:r>
          </a:p>
          <a:p>
            <a:pPr marL="0" lvl="0" indent="0">
              <a:buNone/>
            </a:pPr>
            <a:endParaRPr lang="en-US" sz="800" b="0"/>
          </a:p>
          <a:p>
            <a:pPr marL="457200" lvl="0" indent="-457200">
              <a:buFont typeface="+mj-lt"/>
              <a:buAutoNum type="arabicPeriod"/>
            </a:pPr>
            <a:r>
              <a:rPr lang="en-US" b="0"/>
              <a:t>Substance use disorders</a:t>
            </a:r>
          </a:p>
          <a:p>
            <a:pPr marL="457200" lvl="0" indent="-457200">
              <a:buFont typeface="+mj-lt"/>
              <a:buAutoNum type="arabicPeriod"/>
            </a:pPr>
            <a:r>
              <a:rPr lang="en-US" b="0"/>
              <a:t>Mental health, including pediatric mental health</a:t>
            </a:r>
          </a:p>
          <a:p>
            <a:pPr marL="457200" lvl="0" indent="-457200">
              <a:buFont typeface="+mj-lt"/>
              <a:buAutoNum type="arabicPeriod"/>
            </a:pPr>
            <a:r>
              <a:rPr lang="en-US" b="0"/>
              <a:t>Chronic disease, with a focus on cancer, heart disease, and diabetes </a:t>
            </a:r>
          </a:p>
          <a:p>
            <a:pPr marL="457200" indent="-457200">
              <a:buFont typeface="+mj-lt"/>
              <a:buAutoNum type="arabicPeriod"/>
            </a:pPr>
            <a:r>
              <a:rPr lang="en-US" b="0"/>
              <a:t>Housing stability/homelessness</a:t>
            </a:r>
          </a:p>
          <a:p>
            <a:pPr marL="457200" lvl="0" indent="-457200">
              <a:buFont typeface="+mj-lt"/>
              <a:buAutoNum type="arabicPeriod"/>
            </a:pPr>
            <a:r>
              <a:rPr lang="en-US" b="0"/>
              <a:t>Community tenure</a:t>
            </a:r>
          </a:p>
          <a:p>
            <a:pPr marL="457200" lvl="0" indent="-457200">
              <a:buFont typeface="+mj-lt"/>
              <a:buAutoNum type="arabicPeriod"/>
            </a:pPr>
            <a:r>
              <a:rPr lang="en-US" b="0"/>
              <a:t>Health equity</a:t>
            </a:r>
          </a:p>
          <a:p>
            <a:pPr marL="0" lvl="0" indent="0">
              <a:buNone/>
            </a:pPr>
            <a:endParaRPr lang="en-US" sz="2200" b="0"/>
          </a:p>
          <a:p>
            <a:endParaRPr lang="en-US"/>
          </a:p>
        </p:txBody>
      </p:sp>
    </p:spTree>
    <p:extLst>
      <p:ext uri="{BB962C8B-B14F-4D97-AF65-F5344CB8AC3E}">
        <p14:creationId xmlns:p14="http://schemas.microsoft.com/office/powerpoint/2010/main" val="3830109214"/>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33400" y="1371600"/>
            <a:ext cx="8469923" cy="4556234"/>
          </a:xfrm>
        </p:spPr>
        <p:txBody>
          <a:bodyPr/>
          <a:lstStyle/>
          <a:p>
            <a:pPr marL="457200" indent="-457200">
              <a:buFont typeface="+mj-lt"/>
              <a:buAutoNum type="arabicPeriod"/>
            </a:pPr>
            <a:r>
              <a:rPr lang="en-US" sz="2200">
                <a:ea typeface="Times New Roman" panose="02020603050405020304" pitchFamily="18" charset="0"/>
                <a:cs typeface="Times New Roman" panose="02020603050405020304" pitchFamily="18" charset="0"/>
              </a:rPr>
              <a:t>Welcome</a:t>
            </a:r>
          </a:p>
          <a:p>
            <a:pPr marL="457200" indent="-457200">
              <a:buFont typeface="+mj-lt"/>
              <a:buAutoNum type="arabicPeriod"/>
            </a:pPr>
            <a:r>
              <a:rPr lang="en-US" sz="2200">
                <a:cs typeface="Times New Roman" panose="02020603050405020304" pitchFamily="18" charset="0"/>
              </a:rPr>
              <a:t>Follow-up items from October</a:t>
            </a:r>
          </a:p>
          <a:p>
            <a:pPr marL="457200" indent="-457200">
              <a:buFont typeface="+mj-lt"/>
              <a:buAutoNum type="arabicPeriod"/>
            </a:pPr>
            <a:r>
              <a:rPr lang="en-US" sz="2200">
                <a:cs typeface="Times New Roman" panose="02020603050405020304" pitchFamily="18" charset="0"/>
              </a:rPr>
              <a:t>Review non-measure specific public comments from 2021 annual review</a:t>
            </a:r>
          </a:p>
          <a:p>
            <a:pPr marL="457200" indent="-457200">
              <a:buFont typeface="+mj-lt"/>
              <a:buAutoNum type="arabicPeriod"/>
            </a:pPr>
            <a:r>
              <a:rPr lang="en-US" sz="2200">
                <a:cs typeface="Times New Roman" panose="02020603050405020304" pitchFamily="18" charset="0"/>
              </a:rPr>
              <a:t>Annual review process</a:t>
            </a:r>
          </a:p>
          <a:p>
            <a:pPr marL="457200" indent="-457200">
              <a:buFont typeface="+mj-lt"/>
              <a:buAutoNum type="arabicPeriod"/>
            </a:pPr>
            <a:r>
              <a:rPr lang="en-US" sz="2200">
                <a:cs typeface="Times New Roman" panose="02020603050405020304" pitchFamily="18" charset="0"/>
              </a:rPr>
              <a:t>Substance use disorder measures scan</a:t>
            </a:r>
          </a:p>
          <a:p>
            <a:pPr marL="457200" indent="-457200">
              <a:buFont typeface="+mj-lt"/>
              <a:buAutoNum type="arabicPeriod"/>
            </a:pPr>
            <a:r>
              <a:rPr lang="en-US" sz="2200">
                <a:latin typeface="Book Antiqua" panose="02040602050305030304" pitchFamily="18" charset="0"/>
              </a:rPr>
              <a:t>Revisit inclusion of a measure in the Core Set that requires reporting of RELD data</a:t>
            </a:r>
            <a:endParaRPr lang="en-US" sz="2200">
              <a:cs typeface="Times New Roman" panose="02020603050405020304" pitchFamily="18" charset="0"/>
            </a:endParaRPr>
          </a:p>
          <a:p>
            <a:pPr marL="457200" indent="-457200">
              <a:buFont typeface="+mj-lt"/>
              <a:buAutoNum type="arabicPeriod"/>
            </a:pPr>
            <a:r>
              <a:rPr lang="en-US" sz="2200">
                <a:cs typeface="Times New Roman" panose="02020603050405020304" pitchFamily="18" charset="0"/>
              </a:rPr>
              <a:t>Next steps</a:t>
            </a:r>
            <a:endParaRPr lang="en-US" sz="2200"/>
          </a:p>
        </p:txBody>
      </p:sp>
      <p:sp>
        <p:nvSpPr>
          <p:cNvPr id="5" name="Rectangle 4">
            <a:extLst>
              <a:ext uri="{FF2B5EF4-FFF2-40B4-BE49-F238E27FC236}">
                <a16:creationId xmlns:a16="http://schemas.microsoft.com/office/drawing/2014/main" id="{D3915D3D-656E-48AA-8D63-358A7E5AA453}"/>
              </a:ext>
            </a:extLst>
          </p:cNvPr>
          <p:cNvSpPr/>
          <p:nvPr/>
        </p:nvSpPr>
        <p:spPr>
          <a:xfrm>
            <a:off x="0" y="3555899"/>
            <a:ext cx="9144000" cy="647634"/>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31014981"/>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33400" y="1371600"/>
            <a:ext cx="8469923" cy="4556234"/>
          </a:xfrm>
        </p:spPr>
        <p:txBody>
          <a:bodyPr/>
          <a:lstStyle/>
          <a:p>
            <a:pPr marL="457200" indent="-457200">
              <a:buFont typeface="+mj-lt"/>
              <a:buAutoNum type="arabicPeriod"/>
            </a:pPr>
            <a:r>
              <a:rPr lang="en-US" sz="2200">
                <a:ea typeface="Times New Roman" panose="02020603050405020304" pitchFamily="18" charset="0"/>
                <a:cs typeface="Times New Roman" panose="02020603050405020304" pitchFamily="18" charset="0"/>
              </a:rPr>
              <a:t>Welcome</a:t>
            </a:r>
          </a:p>
          <a:p>
            <a:pPr marL="457200" indent="-457200">
              <a:buFont typeface="+mj-lt"/>
              <a:buAutoNum type="arabicPeriod"/>
            </a:pPr>
            <a:r>
              <a:rPr lang="en-US" sz="2200">
                <a:cs typeface="Times New Roman" panose="02020603050405020304" pitchFamily="18" charset="0"/>
              </a:rPr>
              <a:t>Follow-up items from October</a:t>
            </a:r>
          </a:p>
          <a:p>
            <a:pPr marL="457200" indent="-457200">
              <a:buFont typeface="+mj-lt"/>
              <a:buAutoNum type="arabicPeriod"/>
            </a:pPr>
            <a:r>
              <a:rPr lang="en-US" sz="2200">
                <a:cs typeface="Times New Roman" panose="02020603050405020304" pitchFamily="18" charset="0"/>
              </a:rPr>
              <a:t>Review non-measure specific public comments from 2021 annual review</a:t>
            </a:r>
          </a:p>
          <a:p>
            <a:pPr marL="457200" indent="-457200">
              <a:buFont typeface="+mj-lt"/>
              <a:buAutoNum type="arabicPeriod"/>
            </a:pPr>
            <a:r>
              <a:rPr lang="en-US" sz="2200">
                <a:cs typeface="Times New Roman" panose="02020603050405020304" pitchFamily="18" charset="0"/>
              </a:rPr>
              <a:t>Annual review process</a:t>
            </a:r>
          </a:p>
          <a:p>
            <a:pPr marL="457200" indent="-457200">
              <a:buFont typeface="+mj-lt"/>
              <a:buAutoNum type="arabicPeriod"/>
            </a:pPr>
            <a:r>
              <a:rPr lang="en-US" sz="2200">
                <a:cs typeface="Times New Roman" panose="02020603050405020304" pitchFamily="18" charset="0"/>
              </a:rPr>
              <a:t>Substance use disorder measures scan</a:t>
            </a:r>
          </a:p>
          <a:p>
            <a:pPr marL="457200" indent="-457200">
              <a:buFont typeface="+mj-lt"/>
              <a:buAutoNum type="arabicPeriod"/>
            </a:pPr>
            <a:r>
              <a:rPr lang="en-US" sz="2200">
                <a:latin typeface="Book Antiqua" panose="02040602050305030304" pitchFamily="18" charset="0"/>
              </a:rPr>
              <a:t>Revisit inclusion of a measure in the Core Set that requires reporting of RELD data</a:t>
            </a:r>
            <a:endParaRPr lang="en-US" sz="2200">
              <a:cs typeface="Times New Roman" panose="02020603050405020304" pitchFamily="18" charset="0"/>
            </a:endParaRPr>
          </a:p>
          <a:p>
            <a:pPr marL="457200" indent="-457200">
              <a:buFont typeface="+mj-lt"/>
              <a:buAutoNum type="arabicPeriod"/>
            </a:pPr>
            <a:r>
              <a:rPr lang="en-US" sz="2200">
                <a:cs typeface="Times New Roman" panose="02020603050405020304" pitchFamily="18" charset="0"/>
              </a:rPr>
              <a:t>Next steps</a:t>
            </a:r>
            <a:endParaRPr lang="en-US" sz="2200"/>
          </a:p>
        </p:txBody>
      </p:sp>
      <p:sp>
        <p:nvSpPr>
          <p:cNvPr id="5" name="Rectangle 4">
            <a:extLst>
              <a:ext uri="{FF2B5EF4-FFF2-40B4-BE49-F238E27FC236}">
                <a16:creationId xmlns:a16="http://schemas.microsoft.com/office/drawing/2014/main" id="{D3915D3D-656E-48AA-8D63-358A7E5AA453}"/>
              </a:ext>
            </a:extLst>
          </p:cNvPr>
          <p:cNvSpPr/>
          <p:nvPr/>
        </p:nvSpPr>
        <p:spPr>
          <a:xfrm>
            <a:off x="0" y="1260943"/>
            <a:ext cx="9144000" cy="647634"/>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23438988"/>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DDF3C43-1B02-4850-9B9B-07DB523DC5AA}"/>
              </a:ext>
            </a:extLst>
          </p:cNvPr>
          <p:cNvSpPr>
            <a:spLocks noGrp="1"/>
          </p:cNvSpPr>
          <p:nvPr>
            <p:ph sz="half" idx="1"/>
          </p:nvPr>
        </p:nvSpPr>
        <p:spPr>
          <a:xfrm>
            <a:off x="533400" y="1156449"/>
            <a:ext cx="8077200" cy="5469434"/>
          </a:xfrm>
        </p:spPr>
        <p:txBody>
          <a:bodyPr>
            <a:normAutofit fontScale="92500" lnSpcReduction="20000"/>
          </a:bodyPr>
          <a:lstStyle/>
          <a:p>
            <a:r>
              <a:rPr lang="en-US" sz="2200" b="0"/>
              <a:t>Last spring, the Taskforce considered the following opioid measures, two of which it adopted for use in the Menu Set for 2021.</a:t>
            </a:r>
          </a:p>
          <a:p>
            <a:endParaRPr lang="en-US" sz="2200" b="0"/>
          </a:p>
          <a:p>
            <a:endParaRPr lang="en-US" sz="2200" b="0"/>
          </a:p>
          <a:p>
            <a:endParaRPr lang="en-US" sz="2200" b="0"/>
          </a:p>
          <a:p>
            <a:endParaRPr lang="en-US" sz="2200" b="0"/>
          </a:p>
          <a:p>
            <a:endParaRPr lang="en-US" sz="2200" b="0"/>
          </a:p>
          <a:p>
            <a:endParaRPr lang="en-US" sz="2200" b="0"/>
          </a:p>
          <a:p>
            <a:endParaRPr lang="en-US" sz="2200" b="0"/>
          </a:p>
          <a:p>
            <a:endParaRPr lang="en-US" sz="2200" b="0"/>
          </a:p>
          <a:p>
            <a:pPr>
              <a:spcAft>
                <a:spcPts val="600"/>
              </a:spcAft>
            </a:pPr>
            <a:r>
              <a:rPr lang="en-US" sz="2200" b="0"/>
              <a:t>Initiation and Engagement of Alcohol and Other Drug Abuse or Dependence Treatment is also included in the Menu Set.</a:t>
            </a:r>
          </a:p>
          <a:p>
            <a:pPr lvl="1"/>
            <a:r>
              <a:rPr lang="en-US" sz="2200" b="0"/>
              <a:t>The Taskforce will reconsider including this measure in the Core Set after NCQA releases significant specification changes in 2021.</a:t>
            </a:r>
          </a:p>
          <a:p>
            <a:pPr lvl="1"/>
            <a:endParaRPr lang="en-US" sz="1800"/>
          </a:p>
        </p:txBody>
      </p:sp>
      <p:graphicFrame>
        <p:nvGraphicFramePr>
          <p:cNvPr id="7" name="Table 6">
            <a:extLst>
              <a:ext uri="{FF2B5EF4-FFF2-40B4-BE49-F238E27FC236}">
                <a16:creationId xmlns:a16="http://schemas.microsoft.com/office/drawing/2014/main" id="{CF7DF3CA-4D0E-4A94-BB91-3ABCE2323C64}"/>
              </a:ext>
            </a:extLst>
          </p:cNvPr>
          <p:cNvGraphicFramePr>
            <a:graphicFrameLocks noGrp="1"/>
          </p:cNvGraphicFramePr>
          <p:nvPr>
            <p:extLst>
              <p:ext uri="{D42A27DB-BD31-4B8C-83A1-F6EECF244321}">
                <p14:modId xmlns:p14="http://schemas.microsoft.com/office/powerpoint/2010/main" val="3767326042"/>
              </p:ext>
            </p:extLst>
          </p:nvPr>
        </p:nvGraphicFramePr>
        <p:xfrm>
          <a:off x="439087" y="1781225"/>
          <a:ext cx="8265826" cy="3017520"/>
        </p:xfrm>
        <a:graphic>
          <a:graphicData uri="http://schemas.openxmlformats.org/drawingml/2006/table">
            <a:tbl>
              <a:tblPr firstRow="1" bandRow="1">
                <a:tableStyleId>{5C22544A-7EE6-4342-B048-85BDC9FD1C3A}</a:tableStyleId>
              </a:tblPr>
              <a:tblGrid>
                <a:gridCol w="1625184">
                  <a:extLst>
                    <a:ext uri="{9D8B030D-6E8A-4147-A177-3AD203B41FA5}">
                      <a16:colId xmlns:a16="http://schemas.microsoft.com/office/drawing/2014/main" val="1660375585"/>
                    </a:ext>
                  </a:extLst>
                </a:gridCol>
                <a:gridCol w="6640642">
                  <a:extLst>
                    <a:ext uri="{9D8B030D-6E8A-4147-A177-3AD203B41FA5}">
                      <a16:colId xmlns:a16="http://schemas.microsoft.com/office/drawing/2014/main" val="792256149"/>
                    </a:ext>
                  </a:extLst>
                </a:gridCol>
              </a:tblGrid>
              <a:tr h="556000">
                <a:tc>
                  <a:txBody>
                    <a:bodyPr/>
                    <a:lstStyle/>
                    <a:p>
                      <a:r>
                        <a:rPr lang="en-US" sz="1800">
                          <a:latin typeface="Book Antiqua" panose="02040602050305030304" pitchFamily="18" charset="0"/>
                        </a:rPr>
                        <a:t>Taskforce Statu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800">
                          <a:latin typeface="Book Antiqua"/>
                        </a:rPr>
                        <a:t>Opioid Measur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4040121196"/>
                  </a:ext>
                </a:extLst>
              </a:tr>
              <a:tr h="5979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a:effectLst/>
                          <a:latin typeface="Book Antiqua" panose="02040602050305030304" pitchFamily="18" charset="0"/>
                        </a:rPr>
                        <a:t>Adopted (Menu)</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342900" lvl="0" indent="-342900">
                        <a:buFont typeface="+mj-lt"/>
                        <a:buAutoNum type="arabicPeriod"/>
                      </a:pPr>
                      <a:r>
                        <a:rPr lang="en-US">
                          <a:latin typeface="Book Antiqua" panose="02040602050305030304" pitchFamily="18" charset="0"/>
                        </a:rPr>
                        <a:t>Risk of Continued Opioid Use</a:t>
                      </a:r>
                    </a:p>
                    <a:p>
                      <a:pPr marL="342900" lvl="0" indent="-342900">
                        <a:buFont typeface="+mj-lt"/>
                        <a:buAutoNum type="arabicPeriod"/>
                      </a:pPr>
                      <a:r>
                        <a:rPr lang="en-US">
                          <a:latin typeface="Book Antiqua" panose="02040602050305030304" pitchFamily="18" charset="0"/>
                        </a:rPr>
                        <a:t>Continuity of Pharmacotherapy for Opioid Use Disorder </a:t>
                      </a:r>
                      <a:endParaRPr lang="en-US" sz="180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40307084"/>
                  </a:ext>
                </a:extLst>
              </a:tr>
              <a:tr h="15091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a:latin typeface="Book Antiqua" panose="02040602050305030304" pitchFamily="18" charset="0"/>
                        </a:rPr>
                        <a:t>Considered and Reject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342900" indent="-342900">
                        <a:buFont typeface="+mj-lt"/>
                        <a:buAutoNum type="arabicPeriod"/>
                      </a:pPr>
                      <a:r>
                        <a:rPr lang="en-US" sz="1800" b="0">
                          <a:latin typeface="Book Antiqua" panose="02040602050305030304" pitchFamily="18" charset="0"/>
                        </a:rPr>
                        <a:t>Use of Opioids at High Dose in Persons Without Cancer </a:t>
                      </a:r>
                    </a:p>
                    <a:p>
                      <a:pPr marL="342900" indent="-342900">
                        <a:buFont typeface="+mj-lt"/>
                        <a:buAutoNum type="arabicPeriod"/>
                      </a:pPr>
                      <a:r>
                        <a:rPr lang="en-US" sz="1800" b="0">
                          <a:latin typeface="Book Antiqua" panose="02040602050305030304" pitchFamily="18" charset="0"/>
                        </a:rPr>
                        <a:t>Safe Use of Opioids – Concurrent Prescribing</a:t>
                      </a:r>
                    </a:p>
                    <a:p>
                      <a:pPr marL="342900" indent="-342900">
                        <a:buFont typeface="+mj-lt"/>
                        <a:buAutoNum type="arabicPeriod"/>
                      </a:pPr>
                      <a:r>
                        <a:rPr lang="en-US" sz="1800" b="0">
                          <a:latin typeface="Book Antiqua" panose="02040602050305030304" pitchFamily="18" charset="0"/>
                        </a:rPr>
                        <a:t>Appropriate Prescribing for First Fill Of Opioids</a:t>
                      </a:r>
                    </a:p>
                    <a:p>
                      <a:pPr marL="342900" indent="-342900">
                        <a:buFont typeface="+mj-lt"/>
                        <a:buAutoNum type="arabicPeriod"/>
                      </a:pPr>
                      <a:r>
                        <a:rPr lang="en-US" sz="1800" b="0">
                          <a:latin typeface="Book Antiqua" panose="02040602050305030304" pitchFamily="18" charset="0"/>
                        </a:rPr>
                        <a:t>Substance Use Screening and Intervention Composite</a:t>
                      </a:r>
                    </a:p>
                    <a:p>
                      <a:pPr marL="342900" indent="-342900">
                        <a:buFont typeface="+mj-lt"/>
                        <a:buAutoNum type="arabicPeriod"/>
                      </a:pPr>
                      <a:r>
                        <a:rPr lang="en-US" sz="1800" b="0">
                          <a:latin typeface="Book Antiqua" panose="02040602050305030304" pitchFamily="18" charset="0"/>
                        </a:rPr>
                        <a:t>Discharge Prescription of Naloxone after Opioid Poisoning or Overdos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5744534"/>
                  </a:ext>
                </a:extLst>
              </a:tr>
            </a:tbl>
          </a:graphicData>
        </a:graphic>
      </p:graphicFrame>
      <p:sp>
        <p:nvSpPr>
          <p:cNvPr id="2" name="Title 1">
            <a:extLst>
              <a:ext uri="{FF2B5EF4-FFF2-40B4-BE49-F238E27FC236}">
                <a16:creationId xmlns:a16="http://schemas.microsoft.com/office/drawing/2014/main" id="{E3BA0A91-8B41-48FE-A4A4-CA9D55288692}"/>
              </a:ext>
            </a:extLst>
          </p:cNvPr>
          <p:cNvSpPr>
            <a:spLocks noGrp="1"/>
          </p:cNvSpPr>
          <p:nvPr>
            <p:ph type="title"/>
          </p:nvPr>
        </p:nvSpPr>
        <p:spPr/>
        <p:txBody>
          <a:bodyPr/>
          <a:lstStyle/>
          <a:p>
            <a:r>
              <a:rPr lang="en-US"/>
              <a:t>Substance use disorder measures scan</a:t>
            </a:r>
          </a:p>
        </p:txBody>
      </p:sp>
    </p:spTree>
    <p:extLst>
      <p:ext uri="{BB962C8B-B14F-4D97-AF65-F5344CB8AC3E}">
        <p14:creationId xmlns:p14="http://schemas.microsoft.com/office/powerpoint/2010/main" val="883325208"/>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26E931-F3A2-45AD-AD8E-7B4B8D7CBABE}"/>
              </a:ext>
            </a:extLst>
          </p:cNvPr>
          <p:cNvSpPr>
            <a:spLocks noGrp="1"/>
          </p:cNvSpPr>
          <p:nvPr>
            <p:ph type="title"/>
          </p:nvPr>
        </p:nvSpPr>
        <p:spPr/>
        <p:txBody>
          <a:bodyPr/>
          <a:lstStyle/>
          <a:p>
            <a:r>
              <a:rPr lang="en-US"/>
              <a:t>Substance use disorder measure scan</a:t>
            </a:r>
          </a:p>
        </p:txBody>
      </p:sp>
      <p:sp>
        <p:nvSpPr>
          <p:cNvPr id="3" name="Content Placeholder 2">
            <a:extLst>
              <a:ext uri="{FF2B5EF4-FFF2-40B4-BE49-F238E27FC236}">
                <a16:creationId xmlns:a16="http://schemas.microsoft.com/office/drawing/2014/main" id="{A1C527C8-BEEB-4F96-9450-E5AEDAF77F6C}"/>
              </a:ext>
            </a:extLst>
          </p:cNvPr>
          <p:cNvSpPr>
            <a:spLocks noGrp="1"/>
          </p:cNvSpPr>
          <p:nvPr>
            <p:ph sz="half" idx="1"/>
          </p:nvPr>
        </p:nvSpPr>
        <p:spPr>
          <a:xfrm>
            <a:off x="533399" y="1150882"/>
            <a:ext cx="8467165" cy="5597579"/>
          </a:xfrm>
        </p:spPr>
        <p:txBody>
          <a:bodyPr/>
          <a:lstStyle/>
          <a:p>
            <a:r>
              <a:rPr lang="en-US" b="0" dirty="0"/>
              <a:t>In the spring, Taskforce members requested that the next annual review also consider </a:t>
            </a:r>
            <a:r>
              <a:rPr lang="en-US" b="0" i="1" dirty="0"/>
              <a:t>non-opioid-focused</a:t>
            </a:r>
            <a:r>
              <a:rPr lang="en-US" b="0" dirty="0"/>
              <a:t> substance use disorder measures.</a:t>
            </a:r>
          </a:p>
          <a:p>
            <a:r>
              <a:rPr lang="en-US" b="0" dirty="0"/>
              <a:t>This fall, Taskforce staff conducted an environmental scan of substance use disorder measures the Taskforce may want to consider.</a:t>
            </a:r>
          </a:p>
          <a:p>
            <a:pPr>
              <a:spcAft>
                <a:spcPts val="600"/>
              </a:spcAft>
            </a:pPr>
            <a:r>
              <a:rPr lang="en-US" b="0" dirty="0"/>
              <a:t>We did so using the following sources:</a:t>
            </a:r>
          </a:p>
          <a:p>
            <a:pPr lvl="1">
              <a:spcAft>
                <a:spcPts val="0"/>
              </a:spcAft>
            </a:pPr>
            <a:r>
              <a:rPr lang="en-US" b="0" dirty="0"/>
              <a:t>Buying Value (includes the CMS Adult Core Set and other national sets and a scan of state measure sets)</a:t>
            </a:r>
          </a:p>
          <a:p>
            <a:pPr lvl="1"/>
            <a:r>
              <a:rPr lang="en-US" b="0" dirty="0"/>
              <a:t>Buying Value Benchmark Repository (includes innovative state measures)</a:t>
            </a:r>
          </a:p>
          <a:p>
            <a:pPr>
              <a:spcAft>
                <a:spcPts val="600"/>
              </a:spcAft>
            </a:pPr>
            <a:r>
              <a:rPr lang="en-US" b="0" dirty="0"/>
              <a:t>We found candidate measures for consideration in the following areas:</a:t>
            </a:r>
          </a:p>
          <a:p>
            <a:pPr lvl="1">
              <a:spcAft>
                <a:spcPts val="0"/>
              </a:spcAft>
            </a:pPr>
            <a:r>
              <a:rPr lang="en-US" b="0" dirty="0"/>
              <a:t>Alcohol use and misuse</a:t>
            </a:r>
          </a:p>
          <a:p>
            <a:pPr lvl="1">
              <a:spcAft>
                <a:spcPts val="0"/>
              </a:spcAft>
            </a:pPr>
            <a:r>
              <a:rPr lang="en-US" b="0" dirty="0"/>
              <a:t>Substance use and misuse</a:t>
            </a:r>
          </a:p>
          <a:p>
            <a:pPr lvl="1">
              <a:spcAft>
                <a:spcPts val="0"/>
              </a:spcAft>
            </a:pPr>
            <a:r>
              <a:rPr lang="en-US" b="0" dirty="0"/>
              <a:t>Tobacco use</a:t>
            </a:r>
          </a:p>
          <a:p>
            <a:pPr lvl="1"/>
            <a:endParaRPr lang="en-US" b="0" dirty="0"/>
          </a:p>
        </p:txBody>
      </p:sp>
    </p:spTree>
    <p:extLst>
      <p:ext uri="{BB962C8B-B14F-4D97-AF65-F5344CB8AC3E}">
        <p14:creationId xmlns:p14="http://schemas.microsoft.com/office/powerpoint/2010/main" val="245000583"/>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68C5EF-3C61-4F3D-8A77-7720B8D25001}"/>
              </a:ext>
            </a:extLst>
          </p:cNvPr>
          <p:cNvSpPr>
            <a:spLocks noGrp="1"/>
          </p:cNvSpPr>
          <p:nvPr>
            <p:ph type="title"/>
          </p:nvPr>
        </p:nvSpPr>
        <p:spPr/>
        <p:txBody>
          <a:bodyPr/>
          <a:lstStyle/>
          <a:p>
            <a:r>
              <a:rPr lang="en-US"/>
              <a:t>Substance use disorder measure scan</a:t>
            </a:r>
            <a:br>
              <a:rPr lang="en-US"/>
            </a:br>
            <a:r>
              <a:rPr lang="en-US"/>
              <a:t>SBIRT and equity</a:t>
            </a:r>
          </a:p>
        </p:txBody>
      </p:sp>
      <p:sp>
        <p:nvSpPr>
          <p:cNvPr id="3" name="Content Placeholder 2">
            <a:extLst>
              <a:ext uri="{FF2B5EF4-FFF2-40B4-BE49-F238E27FC236}">
                <a16:creationId xmlns:a16="http://schemas.microsoft.com/office/drawing/2014/main" id="{216BDBF3-AD75-48CD-AB7C-5D5CDB6E9F43}"/>
              </a:ext>
            </a:extLst>
          </p:cNvPr>
          <p:cNvSpPr>
            <a:spLocks noGrp="1"/>
          </p:cNvSpPr>
          <p:nvPr>
            <p:ph sz="half" idx="1"/>
          </p:nvPr>
        </p:nvSpPr>
        <p:spPr>
          <a:xfrm>
            <a:off x="533399" y="981550"/>
            <a:ext cx="8441267" cy="5766911"/>
          </a:xfrm>
        </p:spPr>
        <p:txBody>
          <a:bodyPr/>
          <a:lstStyle/>
          <a:p>
            <a:r>
              <a:rPr lang="en-US" sz="1800" b="0"/>
              <a:t>The rate of substance abuse or dependence among individuals 12 years or age and older was highest among American Indians or Alaska Natives (21.8%), followed by Whites (8.7%), Hispanics (8.8%), African-Americans (8.9%) and individuals reporting two or more races (10.1%). Asians had lower rates of substance abuse or dependence (3.2%) as did Native Hawaiians or Other Pacific Islanders (5.4%).</a:t>
            </a:r>
          </a:p>
          <a:p>
            <a:r>
              <a:rPr lang="en-US" sz="1800" b="0"/>
              <a:t>Hispanic men had greater alcohol-related problems and deaths due to cirrhosis than White men (Caetano, 2003). </a:t>
            </a:r>
          </a:p>
          <a:p>
            <a:r>
              <a:rPr lang="en-US" sz="1800" b="0"/>
              <a:t>Hispanic patients screened in a Level-1 trauma unit reported heavier drinking patterns and increased drinking-related problems when compared to non-Hispanic White patients (Field, Cochran &amp; Caetano, 2013). </a:t>
            </a:r>
          </a:p>
          <a:p>
            <a:r>
              <a:rPr lang="en-US" sz="1800" b="0"/>
              <a:t>African-American men had higher rates of deaths due to cirrhosis than White men. </a:t>
            </a:r>
          </a:p>
          <a:p>
            <a:r>
              <a:rPr lang="en-US" sz="1800" b="0"/>
              <a:t>Another study comparing alcohol-attributable mortality by race revealed that Native Americans experienced higher rates of death and potential years of life lost than other races; and African-Americans experienced higher alcohol-related mortality than Whites (Shield et al., 2005). </a:t>
            </a:r>
          </a:p>
        </p:txBody>
      </p:sp>
      <p:sp>
        <p:nvSpPr>
          <p:cNvPr id="4" name="TextBox 3">
            <a:extLst>
              <a:ext uri="{FF2B5EF4-FFF2-40B4-BE49-F238E27FC236}">
                <a16:creationId xmlns:a16="http://schemas.microsoft.com/office/drawing/2014/main" id="{0F40D6B6-C06F-4D56-A06A-A496A4A81583}"/>
              </a:ext>
            </a:extLst>
          </p:cNvPr>
          <p:cNvSpPr txBox="1"/>
          <p:nvPr/>
        </p:nvSpPr>
        <p:spPr>
          <a:xfrm>
            <a:off x="0" y="6282269"/>
            <a:ext cx="9262533" cy="877163"/>
          </a:xfrm>
          <a:prstGeom prst="rect">
            <a:avLst/>
          </a:prstGeom>
          <a:noFill/>
        </p:spPr>
        <p:txBody>
          <a:bodyPr wrap="square" rtlCol="0">
            <a:spAutoFit/>
          </a:bodyPr>
          <a:lstStyle/>
          <a:p>
            <a:r>
              <a:rPr lang="en-US" sz="1100">
                <a:effectLst/>
                <a:latin typeface="Book Antiqua" panose="02040602050305030304" pitchFamily="18" charset="0"/>
                <a:ea typeface="Calibri" panose="020F0502020204030204" pitchFamily="34" charset="0"/>
              </a:rPr>
              <a:t>Manuel, J. K., </a:t>
            </a:r>
            <a:r>
              <a:rPr lang="en-US" sz="1100" err="1">
                <a:effectLst/>
                <a:latin typeface="Book Antiqua" panose="02040602050305030304" pitchFamily="18" charset="0"/>
                <a:ea typeface="Calibri" panose="020F0502020204030204" pitchFamily="34" charset="0"/>
              </a:rPr>
              <a:t>Satre</a:t>
            </a:r>
            <a:r>
              <a:rPr lang="en-US" sz="1100">
                <a:effectLst/>
                <a:latin typeface="Book Antiqua" panose="02040602050305030304" pitchFamily="18" charset="0"/>
                <a:ea typeface="Calibri" panose="020F0502020204030204" pitchFamily="34" charset="0"/>
              </a:rPr>
              <a:t>, D. D., </a:t>
            </a:r>
            <a:r>
              <a:rPr lang="en-US" sz="1100" err="1">
                <a:effectLst/>
                <a:latin typeface="Book Antiqua" panose="02040602050305030304" pitchFamily="18" charset="0"/>
                <a:ea typeface="Calibri" panose="020F0502020204030204" pitchFamily="34" charset="0"/>
              </a:rPr>
              <a:t>Tsoh</a:t>
            </a:r>
            <a:r>
              <a:rPr lang="en-US" sz="1100">
                <a:effectLst/>
                <a:latin typeface="Book Antiqua" panose="02040602050305030304" pitchFamily="18" charset="0"/>
                <a:ea typeface="Calibri" panose="020F0502020204030204" pitchFamily="34" charset="0"/>
              </a:rPr>
              <a:t>, J., Moreno-John, G., Ramos, J. S., McCance-Katz, E. F., &amp; Satterfield, J. M. (2015). Adapting Screening, Brief Intervention, and Referral to Treatment for Alcohol and Drugs to Culturally Diverse Clinical Populations. </a:t>
            </a:r>
            <a:r>
              <a:rPr lang="en-US" sz="1100" i="1">
                <a:effectLst/>
                <a:latin typeface="Book Antiqua" panose="02040602050305030304" pitchFamily="18" charset="0"/>
                <a:ea typeface="Calibri" panose="020F0502020204030204" pitchFamily="34" charset="0"/>
              </a:rPr>
              <a:t>Journal of Addiction </a:t>
            </a:r>
            <a:r>
              <a:rPr lang="en-US" sz="1100" i="1">
                <a:latin typeface="Book Antiqua" panose="02040602050305030304" pitchFamily="18" charset="0"/>
                <a:ea typeface="Calibri" panose="020F0502020204030204" pitchFamily="34" charset="0"/>
              </a:rPr>
              <a:t>M</a:t>
            </a:r>
            <a:r>
              <a:rPr lang="en-US" sz="1100" i="1">
                <a:effectLst/>
                <a:latin typeface="Book Antiqua" panose="02040602050305030304" pitchFamily="18" charset="0"/>
                <a:ea typeface="Calibri" panose="020F0502020204030204" pitchFamily="34" charset="0"/>
              </a:rPr>
              <a:t>edicine</a:t>
            </a:r>
            <a:r>
              <a:rPr lang="en-US" sz="1100">
                <a:effectLst/>
                <a:latin typeface="Book Antiqua" panose="02040602050305030304" pitchFamily="18" charset="0"/>
                <a:ea typeface="Calibri" panose="020F0502020204030204" pitchFamily="34" charset="0"/>
              </a:rPr>
              <a:t>, </a:t>
            </a:r>
            <a:r>
              <a:rPr lang="en-US" sz="1100" i="1">
                <a:effectLst/>
                <a:latin typeface="Book Antiqua" panose="02040602050305030304" pitchFamily="18" charset="0"/>
                <a:ea typeface="Calibri" panose="020F0502020204030204" pitchFamily="34" charset="0"/>
              </a:rPr>
              <a:t>9</a:t>
            </a:r>
            <a:r>
              <a:rPr lang="en-US" sz="1100">
                <a:effectLst/>
                <a:latin typeface="Book Antiqua" panose="02040602050305030304" pitchFamily="18" charset="0"/>
                <a:ea typeface="Calibri" panose="020F0502020204030204" pitchFamily="34" charset="0"/>
              </a:rPr>
              <a:t>(5), 343–351</a:t>
            </a:r>
            <a:r>
              <a:rPr lang="en-US" sz="1100">
                <a:solidFill>
                  <a:schemeClr val="tx2"/>
                </a:solidFill>
                <a:effectLst/>
                <a:latin typeface="Book Antiqua" panose="02040602050305030304" pitchFamily="18" charset="0"/>
                <a:ea typeface="Calibri" panose="020F0502020204030204" pitchFamily="34" charset="0"/>
              </a:rPr>
              <a:t>. </a:t>
            </a:r>
            <a:r>
              <a:rPr lang="en-US" sz="1100" u="sng">
                <a:solidFill>
                  <a:srgbClr val="003399"/>
                </a:solidFill>
                <a:effectLst/>
                <a:latin typeface="Book Antiqua" panose="02040602050305030304" pitchFamily="18" charset="0"/>
                <a:ea typeface="Calibri" panose="020F0502020204030204" pitchFamily="34" charset="0"/>
                <a:hlinkClick r:id="rId2">
                  <a:extLst>
                    <a:ext uri="{A12FA001-AC4F-418D-AE19-62706E023703}">
                      <ahyp:hlinkClr xmlns:ahyp="http://schemas.microsoft.com/office/drawing/2018/hyperlinkcolor" val="tx"/>
                    </a:ext>
                  </a:extLst>
                </a:hlinkClick>
              </a:rPr>
              <a:t>https://doi.org/10.1097/ADM.0000000000000150</a:t>
            </a:r>
            <a:endParaRPr lang="en-US" sz="1100">
              <a:solidFill>
                <a:srgbClr val="003399"/>
              </a:solidFill>
              <a:effectLst/>
              <a:latin typeface="Book Antiqua" panose="02040602050305030304" pitchFamily="18" charset="0"/>
              <a:ea typeface="Calibri" panose="020F0502020204030204" pitchFamily="34" charset="0"/>
            </a:endParaRPr>
          </a:p>
          <a:p>
            <a:endParaRPr lang="en-US"/>
          </a:p>
        </p:txBody>
      </p:sp>
    </p:spTree>
    <p:extLst>
      <p:ext uri="{BB962C8B-B14F-4D97-AF65-F5344CB8AC3E}">
        <p14:creationId xmlns:p14="http://schemas.microsoft.com/office/powerpoint/2010/main" val="1958059492"/>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88FF14-71E8-4A35-8F5D-8D08392D8224}"/>
              </a:ext>
            </a:extLst>
          </p:cNvPr>
          <p:cNvSpPr>
            <a:spLocks noGrp="1"/>
          </p:cNvSpPr>
          <p:nvPr>
            <p:ph type="title"/>
          </p:nvPr>
        </p:nvSpPr>
        <p:spPr/>
        <p:txBody>
          <a:bodyPr/>
          <a:lstStyle/>
          <a:p>
            <a:r>
              <a:rPr lang="en-US"/>
              <a:t>Substance use disorder measure scan</a:t>
            </a:r>
            <a:br>
              <a:rPr lang="en-US"/>
            </a:br>
            <a:r>
              <a:rPr lang="en-US"/>
              <a:t>Substance use and equity</a:t>
            </a:r>
          </a:p>
        </p:txBody>
      </p:sp>
      <p:sp>
        <p:nvSpPr>
          <p:cNvPr id="3" name="Content Placeholder 2">
            <a:extLst>
              <a:ext uri="{FF2B5EF4-FFF2-40B4-BE49-F238E27FC236}">
                <a16:creationId xmlns:a16="http://schemas.microsoft.com/office/drawing/2014/main" id="{0D6DBD72-B605-4FBF-AF36-16C0EE1ADF9C}"/>
              </a:ext>
            </a:extLst>
          </p:cNvPr>
          <p:cNvSpPr>
            <a:spLocks noGrp="1"/>
          </p:cNvSpPr>
          <p:nvPr>
            <p:ph sz="half" idx="1"/>
          </p:nvPr>
        </p:nvSpPr>
        <p:spPr>
          <a:xfrm>
            <a:off x="533399" y="1010206"/>
            <a:ext cx="8077200" cy="5738256"/>
          </a:xfrm>
        </p:spPr>
        <p:txBody>
          <a:bodyPr/>
          <a:lstStyle/>
          <a:p>
            <a:r>
              <a:rPr lang="en-US" b="0"/>
              <a:t>The Substance Abuse and Mental Health Services Administration (SAMHSA) (2002) estimates that approximately 4.7 million American adults with a disability have a co-occurring substance abuse problem.</a:t>
            </a:r>
          </a:p>
          <a:p>
            <a:r>
              <a:rPr lang="en-US" b="0"/>
              <a:t>Persons with any type of disability experience substance abuse at rates 2 to 4 times that of the general population.</a:t>
            </a:r>
          </a:p>
          <a:p>
            <a:r>
              <a:rPr lang="en-US" b="0"/>
              <a:t>Substance abuse prevalence rates approach or exceed 50% for persons with traumatic brain injuries, spinal cord injuries, or mental illness.</a:t>
            </a:r>
          </a:p>
          <a:p>
            <a:r>
              <a:rPr lang="en-US" b="0"/>
              <a:t>Conditions such as deafness, arthritis, and multiple sclerosis have shown substance abuse rates of at least double the general population estimates.</a:t>
            </a:r>
          </a:p>
          <a:p>
            <a:r>
              <a:rPr lang="en-US" b="0"/>
              <a:t>Where persons with spinal cord injuries, orthopedic disabilities, vision impairment, and amputations consume alcoholic beverages, approximately 40- 50% can be classified as heavy drinkers. </a:t>
            </a:r>
          </a:p>
        </p:txBody>
      </p:sp>
      <p:sp>
        <p:nvSpPr>
          <p:cNvPr id="4" name="TextBox 3">
            <a:extLst>
              <a:ext uri="{FF2B5EF4-FFF2-40B4-BE49-F238E27FC236}">
                <a16:creationId xmlns:a16="http://schemas.microsoft.com/office/drawing/2014/main" id="{624A395E-4E90-44B1-99C3-6F17803558C1}"/>
              </a:ext>
            </a:extLst>
          </p:cNvPr>
          <p:cNvSpPr txBox="1"/>
          <p:nvPr/>
        </p:nvSpPr>
        <p:spPr>
          <a:xfrm>
            <a:off x="269421" y="6286797"/>
            <a:ext cx="8605157" cy="461665"/>
          </a:xfrm>
          <a:prstGeom prst="rect">
            <a:avLst/>
          </a:prstGeom>
          <a:noFill/>
        </p:spPr>
        <p:txBody>
          <a:bodyPr wrap="square" rtlCol="0">
            <a:spAutoFit/>
          </a:bodyPr>
          <a:lstStyle/>
          <a:p>
            <a:r>
              <a:rPr lang="en-US" sz="1200">
                <a:latin typeface="Book Antiqua" panose="02040602050305030304" pitchFamily="18" charset="0"/>
              </a:rPr>
              <a:t>Source: </a:t>
            </a:r>
            <a:r>
              <a:rPr lang="en-US" sz="1200">
                <a:solidFill>
                  <a:srgbClr val="003399"/>
                </a:solidFill>
                <a:latin typeface="Book Antiqua" panose="02040602050305030304" pitchFamily="18" charset="0"/>
                <a:hlinkClick r:id="rId2">
                  <a:extLst>
                    <a:ext uri="{A12FA001-AC4F-418D-AE19-62706E023703}">
                      <ahyp:hlinkClr xmlns:ahyp="http://schemas.microsoft.com/office/drawing/2018/hyperlinkcolor" val="tx"/>
                    </a:ext>
                  </a:extLst>
                </a:hlinkClick>
              </a:rPr>
              <a:t>https://web.archive.org/web/20120813025045/http://www.christopherreeve.org:80/atf/cf/%7B173bca02-3665-49ab-9378-be009c58a5d3%7D/SUBSTANCE%20ABUSE%20AND%20DISABILITY%208-10.PDF</a:t>
            </a:r>
            <a:r>
              <a:rPr lang="en-US" sz="1200">
                <a:solidFill>
                  <a:srgbClr val="003399"/>
                </a:solidFill>
                <a:latin typeface="Book Antiqua" panose="02040602050305030304" pitchFamily="18" charset="0"/>
              </a:rPr>
              <a:t> </a:t>
            </a:r>
          </a:p>
        </p:txBody>
      </p:sp>
    </p:spTree>
    <p:extLst>
      <p:ext uri="{BB962C8B-B14F-4D97-AF65-F5344CB8AC3E}">
        <p14:creationId xmlns:p14="http://schemas.microsoft.com/office/powerpoint/2010/main" val="3650825949"/>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A4FC48-4A7C-4002-A3F4-A2B0BE377676}"/>
              </a:ext>
            </a:extLst>
          </p:cNvPr>
          <p:cNvSpPr>
            <a:spLocks noGrp="1"/>
          </p:cNvSpPr>
          <p:nvPr>
            <p:ph type="title"/>
          </p:nvPr>
        </p:nvSpPr>
        <p:spPr/>
        <p:txBody>
          <a:bodyPr/>
          <a:lstStyle/>
          <a:p>
            <a:r>
              <a:rPr lang="en-US"/>
              <a:t>Substance use disorder measure scan</a:t>
            </a:r>
            <a:br>
              <a:rPr lang="en-US"/>
            </a:br>
            <a:r>
              <a:rPr lang="en-US"/>
              <a:t>Substance use and equity</a:t>
            </a:r>
          </a:p>
        </p:txBody>
      </p:sp>
      <p:sp>
        <p:nvSpPr>
          <p:cNvPr id="3" name="Content Placeholder 2">
            <a:extLst>
              <a:ext uri="{FF2B5EF4-FFF2-40B4-BE49-F238E27FC236}">
                <a16:creationId xmlns:a16="http://schemas.microsoft.com/office/drawing/2014/main" id="{9A731303-FF90-4828-A9F3-3FEE9034E438}"/>
              </a:ext>
            </a:extLst>
          </p:cNvPr>
          <p:cNvSpPr>
            <a:spLocks noGrp="1"/>
          </p:cNvSpPr>
          <p:nvPr>
            <p:ph sz="half" idx="1"/>
          </p:nvPr>
        </p:nvSpPr>
        <p:spPr>
          <a:xfrm>
            <a:off x="375555" y="1150883"/>
            <a:ext cx="8556171" cy="4556234"/>
          </a:xfrm>
        </p:spPr>
        <p:txBody>
          <a:bodyPr/>
          <a:lstStyle/>
          <a:p>
            <a:r>
              <a:rPr lang="en-US" sz="1800" b="0"/>
              <a:t>People with intellectual disabilities (ID) suffer disproportionately from substance use problems, due largely to a lack of empirical evidence on what substance-related disorder prevention and treatment efforts are effective for them (</a:t>
            </a:r>
            <a:r>
              <a:rPr lang="en-US" sz="1800" b="0" err="1"/>
              <a:t>Slayter</a:t>
            </a:r>
            <a:r>
              <a:rPr lang="en-US" sz="1800" b="0"/>
              <a:t>, 2008; </a:t>
            </a:r>
            <a:r>
              <a:rPr lang="en-US" sz="1800" b="0" err="1"/>
              <a:t>Cocco</a:t>
            </a:r>
            <a:r>
              <a:rPr lang="en-US" sz="1800" b="0"/>
              <a:t> &amp; Harper, 2002). </a:t>
            </a:r>
          </a:p>
          <a:p>
            <a:r>
              <a:rPr lang="en-US" sz="1800" b="0"/>
              <a:t>Research suggests that prevalence of alcohol and illicit drug use is low among people with ID, while risk of abuse is relatively high among substance users in this population (</a:t>
            </a:r>
            <a:r>
              <a:rPr lang="en-US" sz="1800" b="0" err="1"/>
              <a:t>Slayter</a:t>
            </a:r>
            <a:r>
              <a:rPr lang="en-US" sz="1800" b="0"/>
              <a:t> &amp; </a:t>
            </a:r>
            <a:r>
              <a:rPr lang="en-US" sz="1800" b="0" err="1"/>
              <a:t>Steenrod</a:t>
            </a:r>
            <a:r>
              <a:rPr lang="en-US" sz="1800" b="0"/>
              <a:t>, 2009; </a:t>
            </a:r>
            <a:r>
              <a:rPr lang="en-US" sz="1800" b="0" err="1"/>
              <a:t>McGillicuddy</a:t>
            </a:r>
            <a:r>
              <a:rPr lang="en-US" sz="1800" b="0"/>
              <a:t> &amp; Blane, 1999). </a:t>
            </a:r>
          </a:p>
          <a:p>
            <a:r>
              <a:rPr lang="en-US" sz="1800" b="0"/>
              <a:t>A study of Medicaid data showed that youths with diagnostic codes for ID and substance abuse had reduced odds of initiating or engaging in related treatment (OR = 0.9 and 0.8 respectively, p&lt;0.05) and had increased odds of dropping out of treatment between initiation and engagement (OR=1.7, p&lt;0.001). These findings suggest that treatment may not meet ID persons’ treatment needs or that ID related barriers (e.g., lacking transportation, poor intellectual functioning, lacking motivation for treatment) interferes with treatment retention (</a:t>
            </a:r>
            <a:r>
              <a:rPr lang="en-US" sz="1800" b="0" err="1"/>
              <a:t>Slayter</a:t>
            </a:r>
            <a:r>
              <a:rPr lang="en-US" sz="1800" b="0"/>
              <a:t>, 2010b).</a:t>
            </a:r>
          </a:p>
        </p:txBody>
      </p:sp>
      <p:sp>
        <p:nvSpPr>
          <p:cNvPr id="4" name="TextBox 3">
            <a:extLst>
              <a:ext uri="{FF2B5EF4-FFF2-40B4-BE49-F238E27FC236}">
                <a16:creationId xmlns:a16="http://schemas.microsoft.com/office/drawing/2014/main" id="{0F25D6FC-9906-44EC-9A8B-8FAB5451055E}"/>
              </a:ext>
            </a:extLst>
          </p:cNvPr>
          <p:cNvSpPr txBox="1"/>
          <p:nvPr/>
        </p:nvSpPr>
        <p:spPr>
          <a:xfrm>
            <a:off x="81640" y="6217359"/>
            <a:ext cx="9144000" cy="523220"/>
          </a:xfrm>
          <a:prstGeom prst="rect">
            <a:avLst/>
          </a:prstGeom>
          <a:noFill/>
        </p:spPr>
        <p:txBody>
          <a:bodyPr wrap="square" rtlCol="0">
            <a:spAutoFit/>
          </a:bodyPr>
          <a:lstStyle/>
          <a:p>
            <a:r>
              <a:rPr lang="en-US" sz="1400" b="0" i="0">
                <a:effectLst/>
                <a:latin typeface="Book Antiqua" panose="02040602050305030304" pitchFamily="18" charset="0"/>
              </a:rPr>
              <a:t>Carroll Chapman SL, Wu LT. Substance abuse among individuals with intellectual disabilities. </a:t>
            </a:r>
            <a:r>
              <a:rPr lang="en-US" sz="1400" b="0" i="1">
                <a:effectLst/>
                <a:latin typeface="Book Antiqua" panose="02040602050305030304" pitchFamily="18" charset="0"/>
              </a:rPr>
              <a:t>Res Dev </a:t>
            </a:r>
            <a:r>
              <a:rPr lang="en-US" sz="1400" b="0" i="1" err="1">
                <a:effectLst/>
                <a:latin typeface="Book Antiqua" panose="02040602050305030304" pitchFamily="18" charset="0"/>
              </a:rPr>
              <a:t>Disabil</a:t>
            </a:r>
            <a:r>
              <a:rPr lang="en-US" sz="1400" b="0" i="0">
                <a:effectLst/>
                <a:latin typeface="Book Antiqua" panose="02040602050305030304" pitchFamily="18" charset="0"/>
              </a:rPr>
              <a:t>. 2012;33(4):1147-1156. doi:10.1016/j.ridd.2012.02.009</a:t>
            </a:r>
            <a:endParaRPr lang="en-US" sz="1400">
              <a:latin typeface="Book Antiqua" panose="02040602050305030304" pitchFamily="18" charset="0"/>
            </a:endParaRPr>
          </a:p>
        </p:txBody>
      </p:sp>
    </p:spTree>
    <p:extLst>
      <p:ext uri="{BB962C8B-B14F-4D97-AF65-F5344CB8AC3E}">
        <p14:creationId xmlns:p14="http://schemas.microsoft.com/office/powerpoint/2010/main" val="1884594512"/>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A0A91-8B41-48FE-A4A4-CA9D55288692}"/>
              </a:ext>
            </a:extLst>
          </p:cNvPr>
          <p:cNvSpPr>
            <a:spLocks noGrp="1"/>
          </p:cNvSpPr>
          <p:nvPr>
            <p:ph type="title"/>
          </p:nvPr>
        </p:nvSpPr>
        <p:spPr>
          <a:xfrm>
            <a:off x="736600" y="109538"/>
            <a:ext cx="5904043" cy="762000"/>
          </a:xfrm>
        </p:spPr>
        <p:txBody>
          <a:bodyPr/>
          <a:lstStyle/>
          <a:p>
            <a:r>
              <a:rPr lang="en-US" sz="2400">
                <a:cs typeface="Times New Roman" panose="02020603050405020304" pitchFamily="18" charset="0"/>
              </a:rPr>
              <a:t>Substance use disorder measures scan</a:t>
            </a:r>
            <a:br>
              <a:rPr lang="en-US" sz="2400">
                <a:cs typeface="Times New Roman" panose="02020603050405020304" pitchFamily="18" charset="0"/>
              </a:rPr>
            </a:br>
            <a:r>
              <a:rPr lang="en-US" sz="2400">
                <a:cs typeface="Times New Roman" panose="02020603050405020304" pitchFamily="18" charset="0"/>
              </a:rPr>
              <a:t>Substance use and misuse</a:t>
            </a:r>
          </a:p>
        </p:txBody>
      </p:sp>
      <p:graphicFrame>
        <p:nvGraphicFramePr>
          <p:cNvPr id="7" name="Table 6">
            <a:extLst>
              <a:ext uri="{FF2B5EF4-FFF2-40B4-BE49-F238E27FC236}">
                <a16:creationId xmlns:a16="http://schemas.microsoft.com/office/drawing/2014/main" id="{5D50B392-E111-4064-B983-4DDEC2E31632}"/>
              </a:ext>
            </a:extLst>
          </p:cNvPr>
          <p:cNvGraphicFramePr>
            <a:graphicFrameLocks noGrp="1"/>
          </p:cNvGraphicFramePr>
          <p:nvPr>
            <p:extLst>
              <p:ext uri="{D42A27DB-BD31-4B8C-83A1-F6EECF244321}">
                <p14:modId xmlns:p14="http://schemas.microsoft.com/office/powerpoint/2010/main" val="3258708177"/>
              </p:ext>
            </p:extLst>
          </p:nvPr>
        </p:nvGraphicFramePr>
        <p:xfrm>
          <a:off x="220133" y="1476211"/>
          <a:ext cx="8793238" cy="3688080"/>
        </p:xfrm>
        <a:graphic>
          <a:graphicData uri="http://schemas.openxmlformats.org/drawingml/2006/table">
            <a:tbl>
              <a:tblPr firstRow="1" bandRow="1">
                <a:tableStyleId>{5C22544A-7EE6-4342-B048-85BDC9FD1C3A}</a:tableStyleId>
              </a:tblPr>
              <a:tblGrid>
                <a:gridCol w="2082664">
                  <a:extLst>
                    <a:ext uri="{9D8B030D-6E8A-4147-A177-3AD203B41FA5}">
                      <a16:colId xmlns:a16="http://schemas.microsoft.com/office/drawing/2014/main" val="1660375585"/>
                    </a:ext>
                  </a:extLst>
                </a:gridCol>
                <a:gridCol w="3836178">
                  <a:extLst>
                    <a:ext uri="{9D8B030D-6E8A-4147-A177-3AD203B41FA5}">
                      <a16:colId xmlns:a16="http://schemas.microsoft.com/office/drawing/2014/main" val="1409430161"/>
                    </a:ext>
                  </a:extLst>
                </a:gridCol>
                <a:gridCol w="2874396">
                  <a:extLst>
                    <a:ext uri="{9D8B030D-6E8A-4147-A177-3AD203B41FA5}">
                      <a16:colId xmlns:a16="http://schemas.microsoft.com/office/drawing/2014/main" val="1594800387"/>
                    </a:ext>
                  </a:extLst>
                </a:gridCol>
              </a:tblGrid>
              <a:tr h="556366">
                <a:tc>
                  <a:txBody>
                    <a:bodyPr/>
                    <a:lstStyle/>
                    <a:p>
                      <a:r>
                        <a:rPr lang="en-US" sz="1600">
                          <a:latin typeface="Book Antiqua" panose="02040602050305030304" pitchFamily="18" charset="0"/>
                        </a:rPr>
                        <a:t>Measure Name  |Stewar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600">
                          <a:latin typeface="Book Antiqua" panose="02040602050305030304" pitchFamily="18" charset="0"/>
                        </a:rPr>
                        <a:t>Descri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600">
                          <a:latin typeface="Book Antiqua" panose="02040602050305030304" pitchFamily="18" charset="0"/>
                        </a:rPr>
                        <a:t>Previous Discuss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4040121196"/>
                  </a:ext>
                </a:extLst>
              </a:tr>
              <a:tr h="9855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a:solidFill>
                            <a:schemeClr val="dk1"/>
                          </a:solidFill>
                          <a:effectLst/>
                          <a:latin typeface="Book Antiqua" panose="02040602050305030304" pitchFamily="18" charset="0"/>
                          <a:ea typeface="+mn-ea"/>
                          <a:cs typeface="+mn-cs"/>
                        </a:rPr>
                        <a:t>Substance Use Assessment in Primary Care | Inland Empire Health Pla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buFont typeface="+mj-lt"/>
                        <a:buNone/>
                      </a:pPr>
                      <a:r>
                        <a:rPr lang="en-US" sz="1600">
                          <a:latin typeface="Book Antiqua" panose="02040602050305030304" pitchFamily="18" charset="0"/>
                        </a:rPr>
                        <a:t>The percentage of members 18 years and older who were screened for substance use during the measurement year.</a:t>
                      </a:r>
                      <a:endParaRPr lang="en-US" sz="1600">
                        <a:highlight>
                          <a:srgbClr val="FFFF00"/>
                        </a:highlight>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600">
                          <a:latin typeface="Book Antiqua" panose="02040602050305030304" pitchFamily="18" charset="0"/>
                        </a:rPr>
                        <a:t>Not previously discussed.</a:t>
                      </a:r>
                    </a:p>
                    <a:p>
                      <a:pPr marL="0" lvl="0" indent="0">
                        <a:buFont typeface="+mj-lt"/>
                        <a:buNone/>
                      </a:pPr>
                      <a:endParaRPr lang="en-US" sz="160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77854732"/>
                  </a:ext>
                </a:extLst>
              </a:tr>
              <a:tr h="9855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a:solidFill>
                            <a:schemeClr val="dk1"/>
                          </a:solidFill>
                          <a:effectLst/>
                          <a:latin typeface="Book Antiqua" panose="02040602050305030304" pitchFamily="18" charset="0"/>
                          <a:ea typeface="+mn-ea"/>
                          <a:cs typeface="+mn-cs"/>
                        </a:rPr>
                        <a:t>Substance Use Disorder Treatment Penetration| WA DSH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buFont typeface="+mj-lt"/>
                        <a:buNone/>
                      </a:pPr>
                      <a:r>
                        <a:rPr lang="en-US" sz="1600">
                          <a:latin typeface="Book Antiqua" panose="02040602050305030304" pitchFamily="18" charset="0"/>
                        </a:rPr>
                        <a:t>The percentage of Medicaid beneficiaries, 12 years of age and older, with a substance use disorder treatment need identified within the past two years, who received at least one qualifying substance use disorder treatment during the measurement year.</a:t>
                      </a:r>
                      <a:endParaRPr lang="en-US" sz="1600">
                        <a:highlight>
                          <a:srgbClr val="FFFF00"/>
                        </a:highlight>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600">
                          <a:latin typeface="Book Antiqua" panose="02040602050305030304" pitchFamily="18" charset="0"/>
                        </a:rPr>
                        <a:t>Not previously discussed.</a:t>
                      </a:r>
                    </a:p>
                    <a:p>
                      <a:pPr marL="0" lvl="0" indent="0">
                        <a:buFont typeface="+mj-lt"/>
                        <a:buNone/>
                      </a:pPr>
                      <a:endParaRPr lang="en-US" sz="160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48885649"/>
                  </a:ext>
                </a:extLst>
              </a:tr>
            </a:tbl>
          </a:graphicData>
        </a:graphic>
      </p:graphicFrame>
    </p:spTree>
    <p:extLst>
      <p:ext uri="{BB962C8B-B14F-4D97-AF65-F5344CB8AC3E}">
        <p14:creationId xmlns:p14="http://schemas.microsoft.com/office/powerpoint/2010/main" val="3336706788"/>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25F8A6-0446-4B09-87C7-8D1364D69E7C}"/>
              </a:ext>
            </a:extLst>
          </p:cNvPr>
          <p:cNvSpPr>
            <a:spLocks noGrp="1"/>
          </p:cNvSpPr>
          <p:nvPr>
            <p:ph type="title"/>
          </p:nvPr>
        </p:nvSpPr>
        <p:spPr/>
        <p:txBody>
          <a:bodyPr/>
          <a:lstStyle/>
          <a:p>
            <a:r>
              <a:rPr lang="en-US" sz="2400">
                <a:cs typeface="Times New Roman" panose="02020603050405020304" pitchFamily="18" charset="0"/>
              </a:rPr>
              <a:t>Substance use disorder measures scan</a:t>
            </a:r>
            <a:br>
              <a:rPr lang="en-US" sz="2400">
                <a:cs typeface="Times New Roman" panose="02020603050405020304" pitchFamily="18" charset="0"/>
              </a:rPr>
            </a:br>
            <a:r>
              <a:rPr lang="en-US" sz="2400">
                <a:cs typeface="Times New Roman" panose="02020603050405020304" pitchFamily="18" charset="0"/>
              </a:rPr>
              <a:t>Alcohol use and misuse</a:t>
            </a:r>
            <a:endParaRPr lang="en-US"/>
          </a:p>
        </p:txBody>
      </p:sp>
      <p:sp>
        <p:nvSpPr>
          <p:cNvPr id="3" name="Content Placeholder 2">
            <a:extLst>
              <a:ext uri="{FF2B5EF4-FFF2-40B4-BE49-F238E27FC236}">
                <a16:creationId xmlns:a16="http://schemas.microsoft.com/office/drawing/2014/main" id="{88107667-FBB9-4C5E-99C1-F42AE0B6E347}"/>
              </a:ext>
            </a:extLst>
          </p:cNvPr>
          <p:cNvSpPr>
            <a:spLocks noGrp="1"/>
          </p:cNvSpPr>
          <p:nvPr>
            <p:ph sz="half" idx="1"/>
          </p:nvPr>
        </p:nvSpPr>
        <p:spPr/>
        <p:txBody>
          <a:bodyPr/>
          <a:lstStyle/>
          <a:p>
            <a:r>
              <a:rPr lang="en-US" b="0"/>
              <a:t>Taskforce staff also found four measures focused primarily on alcohol use.</a:t>
            </a:r>
          </a:p>
          <a:p>
            <a:r>
              <a:rPr lang="en-US" b="0"/>
              <a:t>The next two slides display these measures, however, we recommend holding on review of these measures until we can compare them to the new Initiation and Engagement of Alcohol and Other Drug Abuse or Dependence Treatment specifications that will be released in 2021.</a:t>
            </a:r>
          </a:p>
          <a:p>
            <a:r>
              <a:rPr lang="en-US"/>
              <a:t>Does the Taskforce agree with this recommendation?</a:t>
            </a:r>
          </a:p>
          <a:p>
            <a:endParaRPr lang="en-US" b="0"/>
          </a:p>
          <a:p>
            <a:endParaRPr lang="en-US" b="0"/>
          </a:p>
        </p:txBody>
      </p:sp>
    </p:spTree>
    <p:extLst>
      <p:ext uri="{BB962C8B-B14F-4D97-AF65-F5344CB8AC3E}">
        <p14:creationId xmlns:p14="http://schemas.microsoft.com/office/powerpoint/2010/main" val="433791631"/>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A0A91-8B41-48FE-A4A4-CA9D55288692}"/>
              </a:ext>
            </a:extLst>
          </p:cNvPr>
          <p:cNvSpPr>
            <a:spLocks noGrp="1"/>
          </p:cNvSpPr>
          <p:nvPr>
            <p:ph type="title"/>
          </p:nvPr>
        </p:nvSpPr>
        <p:spPr>
          <a:xfrm>
            <a:off x="736600" y="109538"/>
            <a:ext cx="5904043" cy="762000"/>
          </a:xfrm>
        </p:spPr>
        <p:txBody>
          <a:bodyPr/>
          <a:lstStyle/>
          <a:p>
            <a:r>
              <a:rPr lang="en-US" sz="2400">
                <a:cs typeface="Times New Roman" panose="02020603050405020304" pitchFamily="18" charset="0"/>
              </a:rPr>
              <a:t>Substance use disorder measures scan</a:t>
            </a:r>
            <a:br>
              <a:rPr lang="en-US" sz="2400">
                <a:cs typeface="Times New Roman" panose="02020603050405020304" pitchFamily="18" charset="0"/>
              </a:rPr>
            </a:br>
            <a:r>
              <a:rPr lang="en-US" sz="2400">
                <a:cs typeface="Times New Roman" panose="02020603050405020304" pitchFamily="18" charset="0"/>
              </a:rPr>
              <a:t>Alcohol use and misuse</a:t>
            </a:r>
          </a:p>
        </p:txBody>
      </p:sp>
      <p:graphicFrame>
        <p:nvGraphicFramePr>
          <p:cNvPr id="7" name="Table 6">
            <a:extLst>
              <a:ext uri="{FF2B5EF4-FFF2-40B4-BE49-F238E27FC236}">
                <a16:creationId xmlns:a16="http://schemas.microsoft.com/office/drawing/2014/main" id="{5D50B392-E111-4064-B983-4DDEC2E31632}"/>
              </a:ext>
            </a:extLst>
          </p:cNvPr>
          <p:cNvGraphicFramePr>
            <a:graphicFrameLocks noGrp="1"/>
          </p:cNvGraphicFramePr>
          <p:nvPr>
            <p:extLst>
              <p:ext uri="{D42A27DB-BD31-4B8C-83A1-F6EECF244321}">
                <p14:modId xmlns:p14="http://schemas.microsoft.com/office/powerpoint/2010/main" val="1587027720"/>
              </p:ext>
            </p:extLst>
          </p:nvPr>
        </p:nvGraphicFramePr>
        <p:xfrm>
          <a:off x="220132" y="1312321"/>
          <a:ext cx="8695266" cy="5151120"/>
        </p:xfrm>
        <a:graphic>
          <a:graphicData uri="http://schemas.openxmlformats.org/drawingml/2006/table">
            <a:tbl>
              <a:tblPr firstRow="1" bandRow="1">
                <a:tableStyleId>{5C22544A-7EE6-4342-B048-85BDC9FD1C3A}</a:tableStyleId>
              </a:tblPr>
              <a:tblGrid>
                <a:gridCol w="2126199">
                  <a:extLst>
                    <a:ext uri="{9D8B030D-6E8A-4147-A177-3AD203B41FA5}">
                      <a16:colId xmlns:a16="http://schemas.microsoft.com/office/drawing/2014/main" val="1660375585"/>
                    </a:ext>
                  </a:extLst>
                </a:gridCol>
                <a:gridCol w="3726697">
                  <a:extLst>
                    <a:ext uri="{9D8B030D-6E8A-4147-A177-3AD203B41FA5}">
                      <a16:colId xmlns:a16="http://schemas.microsoft.com/office/drawing/2014/main" val="1409430161"/>
                    </a:ext>
                  </a:extLst>
                </a:gridCol>
                <a:gridCol w="2842370">
                  <a:extLst>
                    <a:ext uri="{9D8B030D-6E8A-4147-A177-3AD203B41FA5}">
                      <a16:colId xmlns:a16="http://schemas.microsoft.com/office/drawing/2014/main" val="1594800387"/>
                    </a:ext>
                  </a:extLst>
                </a:gridCol>
              </a:tblGrid>
              <a:tr h="556366">
                <a:tc>
                  <a:txBody>
                    <a:bodyPr/>
                    <a:lstStyle/>
                    <a:p>
                      <a:r>
                        <a:rPr lang="en-US" sz="1600">
                          <a:latin typeface="Book Antiqua" panose="02040602050305030304" pitchFamily="18" charset="0"/>
                        </a:rPr>
                        <a:t>Measure Name  |Stewar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600">
                          <a:latin typeface="Book Antiqua" panose="02040602050305030304" pitchFamily="18" charset="0"/>
                        </a:rPr>
                        <a:t>Descri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600">
                          <a:latin typeface="Book Antiqua" panose="02040602050305030304" pitchFamily="18" charset="0"/>
                        </a:rPr>
                        <a:t>Previous Discuss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4040121196"/>
                  </a:ext>
                </a:extLst>
              </a:tr>
              <a:tr h="9855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a:solidFill>
                            <a:schemeClr val="dk1"/>
                          </a:solidFill>
                          <a:effectLst/>
                          <a:latin typeface="Book Antiqua" panose="02040602050305030304" pitchFamily="18" charset="0"/>
                          <a:ea typeface="+mn-ea"/>
                          <a:cs typeface="+mn-cs"/>
                        </a:rPr>
                        <a:t>Alcohol and Drug Misuse: Screening, Brief Intervention and Referral for Treatment (SBIRT) | Oregon Health Author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buFont typeface="+mj-lt"/>
                        <a:buNone/>
                      </a:pPr>
                      <a:r>
                        <a:rPr lang="en-US" sz="1600">
                          <a:latin typeface="Book Antiqua" panose="02040602050305030304" pitchFamily="18" charset="0"/>
                        </a:rPr>
                        <a:t>Two rates are reported for this measure:</a:t>
                      </a:r>
                    </a:p>
                    <a:p>
                      <a:pPr marL="0" lvl="0" indent="0">
                        <a:buFont typeface="+mj-lt"/>
                        <a:buNone/>
                      </a:pPr>
                      <a:r>
                        <a:rPr lang="en-US" sz="1600">
                          <a:latin typeface="Book Antiqua" panose="02040602050305030304" pitchFamily="18" charset="0"/>
                        </a:rPr>
                        <a:t>(1) The percentage of patients who received age-appropriate screening and</a:t>
                      </a:r>
                    </a:p>
                    <a:p>
                      <a:pPr marL="0" lvl="0" indent="0">
                        <a:buFont typeface="+mj-lt"/>
                        <a:buNone/>
                      </a:pPr>
                      <a:r>
                        <a:rPr lang="en-US" sz="1600">
                          <a:latin typeface="Book Antiqua" panose="02040602050305030304" pitchFamily="18" charset="0"/>
                        </a:rPr>
                        <a:t>(2) The percentage of patients with a positive full screen who received a brief intervention, a referral to treatment, or bot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buFont typeface="+mj-lt"/>
                        <a:buNone/>
                      </a:pPr>
                      <a:r>
                        <a:rPr lang="en-US" sz="1600">
                          <a:latin typeface="Book Antiqua" panose="02040602050305030304" pitchFamily="18" charset="0"/>
                        </a:rPr>
                        <a:t>Previously, the Taskforce considered this measure and decided to delay endorsing the measure until the EHR-based version was fully developed.  </a:t>
                      </a:r>
                    </a:p>
                    <a:p>
                      <a:pPr marL="0" lvl="0" indent="0">
                        <a:buFont typeface="+mj-lt"/>
                        <a:buNone/>
                      </a:pPr>
                      <a:endParaRPr lang="en-US" sz="1600" i="1">
                        <a:latin typeface="Book Antiqua" panose="02040602050305030304" pitchFamily="18" charset="0"/>
                      </a:endParaRPr>
                    </a:p>
                    <a:p>
                      <a:pPr marL="0" lvl="0" indent="0">
                        <a:buFont typeface="+mj-lt"/>
                        <a:buNone/>
                      </a:pPr>
                      <a:r>
                        <a:rPr lang="en-US" sz="1600" i="0">
                          <a:latin typeface="Book Antiqua" panose="02040602050305030304" pitchFamily="18" charset="0"/>
                        </a:rPr>
                        <a:t>The 2020 specification is EHR-based.  The measure has “reporting-only” status in Oregon for 202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40307084"/>
                  </a:ext>
                </a:extLst>
              </a:tr>
              <a:tr h="9855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a:solidFill>
                            <a:schemeClr val="dk1"/>
                          </a:solidFill>
                          <a:effectLst/>
                          <a:latin typeface="Book Antiqua" panose="02040602050305030304" pitchFamily="18" charset="0"/>
                          <a:ea typeface="+mn-ea"/>
                          <a:cs typeface="+mn-cs"/>
                        </a:rPr>
                        <a:t>Unhealthy Alcohol Use Screening and Follow-Up | NCQ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600" i="1">
                          <a:latin typeface="Book Antiqua" panose="02040602050305030304" pitchFamily="18" charset="0"/>
                        </a:rPr>
                        <a:t>NQF disparities sensitive status</a:t>
                      </a:r>
                      <a:endParaRPr lang="en-US" sz="1600" b="0" i="1">
                        <a:latin typeface="Book Antiqua" panose="02040602050305030304" pitchFamily="18" charset="0"/>
                      </a:endParaRPr>
                    </a:p>
                    <a:p>
                      <a:pPr marL="0" indent="0">
                        <a:buFont typeface="+mj-lt"/>
                        <a:buNone/>
                      </a:pPr>
                      <a:r>
                        <a:rPr lang="en-US" sz="1600" b="0">
                          <a:latin typeface="Book Antiqua" panose="02040602050305030304" pitchFamily="18" charset="0"/>
                        </a:rPr>
                        <a:t>The percentage of members 18 years of age and older who were screened for unhealthy alcohol use using a standardized instrument and, if screened positive, received appropriate follow-up ca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buFont typeface="+mj-lt"/>
                        <a:buNone/>
                      </a:pPr>
                      <a:r>
                        <a:rPr lang="en-US" sz="1600">
                          <a:latin typeface="Book Antiqua" panose="02040602050305030304" pitchFamily="18" charset="0"/>
                        </a:rPr>
                        <a:t>Not previously discussed.</a:t>
                      </a:r>
                    </a:p>
                    <a:p>
                      <a:pPr marL="0" lvl="0" indent="0">
                        <a:buFont typeface="+mj-lt"/>
                        <a:buNone/>
                      </a:pPr>
                      <a:endParaRPr lang="en-US" sz="1600">
                        <a:latin typeface="Book Antiqua" panose="02040602050305030304" pitchFamily="18" charset="0"/>
                      </a:endParaRPr>
                    </a:p>
                    <a:p>
                      <a:pPr marL="0" lvl="0" indent="0">
                        <a:buFont typeface="+mj-lt"/>
                        <a:buNone/>
                      </a:pPr>
                      <a:r>
                        <a:rPr lang="en-US" sz="1600">
                          <a:latin typeface="Book Antiqua" panose="02040602050305030304" pitchFamily="18" charset="0"/>
                        </a:rPr>
                        <a:t>This is an ECDS measu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47852112"/>
                  </a:ext>
                </a:extLst>
              </a:tr>
            </a:tbl>
          </a:graphicData>
        </a:graphic>
      </p:graphicFrame>
    </p:spTree>
    <p:extLst>
      <p:ext uri="{BB962C8B-B14F-4D97-AF65-F5344CB8AC3E}">
        <p14:creationId xmlns:p14="http://schemas.microsoft.com/office/powerpoint/2010/main" val="1541576896"/>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A0A91-8B41-48FE-A4A4-CA9D55288692}"/>
              </a:ext>
            </a:extLst>
          </p:cNvPr>
          <p:cNvSpPr>
            <a:spLocks noGrp="1"/>
          </p:cNvSpPr>
          <p:nvPr>
            <p:ph type="title"/>
          </p:nvPr>
        </p:nvSpPr>
        <p:spPr>
          <a:xfrm>
            <a:off x="736600" y="109538"/>
            <a:ext cx="5904043" cy="762000"/>
          </a:xfrm>
        </p:spPr>
        <p:txBody>
          <a:bodyPr/>
          <a:lstStyle/>
          <a:p>
            <a:r>
              <a:rPr lang="en-US" sz="2400">
                <a:cs typeface="Times New Roman" panose="02020603050405020304" pitchFamily="18" charset="0"/>
              </a:rPr>
              <a:t>Substance use disorder measures scan</a:t>
            </a:r>
            <a:br>
              <a:rPr lang="en-US" sz="2400">
                <a:cs typeface="Times New Roman" panose="02020603050405020304" pitchFamily="18" charset="0"/>
              </a:rPr>
            </a:br>
            <a:r>
              <a:rPr lang="en-US" sz="2400">
                <a:cs typeface="Times New Roman" panose="02020603050405020304" pitchFamily="18" charset="0"/>
              </a:rPr>
              <a:t>Alcohol use and misuse</a:t>
            </a:r>
          </a:p>
        </p:txBody>
      </p:sp>
      <p:graphicFrame>
        <p:nvGraphicFramePr>
          <p:cNvPr id="7" name="Table 6">
            <a:extLst>
              <a:ext uri="{FF2B5EF4-FFF2-40B4-BE49-F238E27FC236}">
                <a16:creationId xmlns:a16="http://schemas.microsoft.com/office/drawing/2014/main" id="{5D50B392-E111-4064-B983-4DDEC2E31632}"/>
              </a:ext>
            </a:extLst>
          </p:cNvPr>
          <p:cNvGraphicFramePr>
            <a:graphicFrameLocks noGrp="1"/>
          </p:cNvGraphicFramePr>
          <p:nvPr>
            <p:extLst>
              <p:ext uri="{D42A27DB-BD31-4B8C-83A1-F6EECF244321}">
                <p14:modId xmlns:p14="http://schemas.microsoft.com/office/powerpoint/2010/main" val="4243460722"/>
              </p:ext>
            </p:extLst>
          </p:nvPr>
        </p:nvGraphicFramePr>
        <p:xfrm>
          <a:off x="220132" y="1377635"/>
          <a:ext cx="8717391" cy="4419600"/>
        </p:xfrm>
        <a:graphic>
          <a:graphicData uri="http://schemas.openxmlformats.org/drawingml/2006/table">
            <a:tbl>
              <a:tblPr firstRow="1" bandRow="1">
                <a:tableStyleId>{5C22544A-7EE6-4342-B048-85BDC9FD1C3A}</a:tableStyleId>
              </a:tblPr>
              <a:tblGrid>
                <a:gridCol w="2138178">
                  <a:extLst>
                    <a:ext uri="{9D8B030D-6E8A-4147-A177-3AD203B41FA5}">
                      <a16:colId xmlns:a16="http://schemas.microsoft.com/office/drawing/2014/main" val="1660375585"/>
                    </a:ext>
                  </a:extLst>
                </a:gridCol>
                <a:gridCol w="3747692">
                  <a:extLst>
                    <a:ext uri="{9D8B030D-6E8A-4147-A177-3AD203B41FA5}">
                      <a16:colId xmlns:a16="http://schemas.microsoft.com/office/drawing/2014/main" val="1409430161"/>
                    </a:ext>
                  </a:extLst>
                </a:gridCol>
                <a:gridCol w="2831521">
                  <a:extLst>
                    <a:ext uri="{9D8B030D-6E8A-4147-A177-3AD203B41FA5}">
                      <a16:colId xmlns:a16="http://schemas.microsoft.com/office/drawing/2014/main" val="1594800387"/>
                    </a:ext>
                  </a:extLst>
                </a:gridCol>
              </a:tblGrid>
              <a:tr h="556366">
                <a:tc>
                  <a:txBody>
                    <a:bodyPr/>
                    <a:lstStyle/>
                    <a:p>
                      <a:r>
                        <a:rPr lang="en-US" sz="1600">
                          <a:latin typeface="Book Antiqua" panose="02040602050305030304" pitchFamily="18" charset="0"/>
                        </a:rPr>
                        <a:t>Measure Name  |Stewar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600">
                          <a:latin typeface="Book Antiqua" panose="02040602050305030304" pitchFamily="18" charset="0"/>
                        </a:rPr>
                        <a:t>Descri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600">
                          <a:latin typeface="Book Antiqua" panose="02040602050305030304" pitchFamily="18" charset="0"/>
                        </a:rPr>
                        <a:t>Previous Discuss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4040121196"/>
                  </a:ext>
                </a:extLst>
              </a:tr>
              <a:tr h="98929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a:solidFill>
                            <a:schemeClr val="dk1"/>
                          </a:solidFill>
                          <a:effectLst/>
                          <a:latin typeface="Book Antiqua" panose="02040602050305030304" pitchFamily="18" charset="0"/>
                          <a:ea typeface="+mn-ea"/>
                          <a:cs typeface="+mn-cs"/>
                        </a:rPr>
                        <a:t>Unhealthy Alcohol Use: Screening &amp; Brief Counseling | AMA-PCP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600" i="1">
                          <a:latin typeface="Book Antiqua" panose="02040602050305030304" pitchFamily="18" charset="0"/>
                        </a:rPr>
                        <a:t>NQF disparities sensitive status</a:t>
                      </a:r>
                      <a:endParaRPr lang="en-US" sz="1600" b="0" i="1">
                        <a:latin typeface="Book Antiqua" panose="02040602050305030304" pitchFamily="18" charset="0"/>
                      </a:endParaRPr>
                    </a:p>
                    <a:p>
                      <a:pPr marL="0" indent="0">
                        <a:buFont typeface="+mj-lt"/>
                        <a:buNone/>
                      </a:pPr>
                      <a:r>
                        <a:rPr lang="en-US" sz="1600" b="0">
                          <a:latin typeface="Book Antiqua" panose="02040602050305030304" pitchFamily="18" charset="0"/>
                        </a:rPr>
                        <a:t>Percentage of patients aged 18 years and older who were screened for unhealthy alcohol use using a systematic screening method at least once within the last 24 months AND who received brief counseling if identified as an unhealthy alcohol us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mj-lt"/>
                        <a:buNone/>
                      </a:pPr>
                      <a:r>
                        <a:rPr lang="en-US" sz="1600" b="0">
                          <a:latin typeface="Book Antiqua" panose="02040602050305030304" pitchFamily="18" charset="0"/>
                        </a:rPr>
                        <a:t>The Taskforce previously rejected this measure for the following reasons:</a:t>
                      </a:r>
                    </a:p>
                    <a:p>
                      <a:pPr marL="0" indent="0">
                        <a:buFont typeface="+mj-lt"/>
                        <a:buNone/>
                      </a:pPr>
                      <a:r>
                        <a:rPr lang="en-US" sz="1600" b="0">
                          <a:latin typeface="Book Antiqua" panose="02040602050305030304" pitchFamily="18" charset="0"/>
                        </a:rPr>
                        <a:t>- “check-the-box” measure</a:t>
                      </a:r>
                    </a:p>
                    <a:p>
                      <a:pPr marL="0" indent="0">
                        <a:buFont typeface="+mj-lt"/>
                        <a:buNone/>
                      </a:pPr>
                      <a:r>
                        <a:rPr lang="en-US" sz="1600" b="0">
                          <a:latin typeface="Book Antiqua" panose="02040602050305030304" pitchFamily="18" charset="0"/>
                        </a:rPr>
                        <a:t>- redundant with IET</a:t>
                      </a:r>
                    </a:p>
                    <a:p>
                      <a:pPr marL="0" indent="0">
                        <a:buFont typeface="+mj-lt"/>
                        <a:buNone/>
                      </a:pPr>
                      <a:r>
                        <a:rPr lang="en-US" sz="1600" b="0">
                          <a:latin typeface="Book Antiqua" panose="02040602050305030304" pitchFamily="18" charset="0"/>
                        </a:rPr>
                        <a:t>- prefer a measure focused on alcohol and drug us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22629174"/>
                  </a:ext>
                </a:extLst>
              </a:tr>
              <a:tr h="98929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a:solidFill>
                            <a:schemeClr val="dk1"/>
                          </a:solidFill>
                          <a:effectLst/>
                          <a:latin typeface="Book Antiqua" panose="02040602050305030304" pitchFamily="18" charset="0"/>
                          <a:ea typeface="+mn-ea"/>
                          <a:cs typeface="+mn-cs"/>
                        </a:rPr>
                        <a:t>Unhealthy Alcohol and Drug Use Screening and Brief Counseling | AMA-PCPI measure modified by BCBSR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buFont typeface="+mj-lt"/>
                        <a:buNone/>
                      </a:pPr>
                      <a:r>
                        <a:rPr lang="en-US" sz="1600">
                          <a:latin typeface="Book Antiqua" panose="02040602050305030304" pitchFamily="18" charset="0"/>
                        </a:rPr>
                        <a:t>Patients ages twelve (12) years and older who were screened at least once within the year for unhealthy alcohol and drug use using a systematic screening method AND who received brief counseling if identified as an unhealthy alcohol user.</a:t>
                      </a:r>
                      <a:endParaRPr lang="en-US" sz="1600">
                        <a:highlight>
                          <a:srgbClr val="FFFF00"/>
                        </a:highlight>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buFont typeface="+mj-lt"/>
                        <a:buNone/>
                      </a:pPr>
                      <a:r>
                        <a:rPr lang="en-US" sz="1600">
                          <a:latin typeface="Book Antiqua" panose="02040602050305030304" pitchFamily="18" charset="0"/>
                        </a:rPr>
                        <a:t>Not previously discuss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50534546"/>
                  </a:ext>
                </a:extLst>
              </a:tr>
            </a:tbl>
          </a:graphicData>
        </a:graphic>
      </p:graphicFrame>
    </p:spTree>
    <p:extLst>
      <p:ext uri="{BB962C8B-B14F-4D97-AF65-F5344CB8AC3E}">
        <p14:creationId xmlns:p14="http://schemas.microsoft.com/office/powerpoint/2010/main" val="1534380008"/>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EEEB2C-AAA9-41AE-BA42-09D490E33EC5}"/>
              </a:ext>
            </a:extLst>
          </p:cNvPr>
          <p:cNvSpPr>
            <a:spLocks noGrp="1"/>
          </p:cNvSpPr>
          <p:nvPr>
            <p:ph type="title"/>
          </p:nvPr>
        </p:nvSpPr>
        <p:spPr/>
        <p:txBody>
          <a:bodyPr/>
          <a:lstStyle/>
          <a:p>
            <a:r>
              <a:rPr lang="en-US"/>
              <a:t>Substance use disorder measure scan</a:t>
            </a:r>
            <a:br>
              <a:rPr lang="en-US"/>
            </a:br>
            <a:r>
              <a:rPr lang="en-US"/>
              <a:t>Tobacco use and equity</a:t>
            </a:r>
          </a:p>
        </p:txBody>
      </p:sp>
      <p:sp>
        <p:nvSpPr>
          <p:cNvPr id="3" name="Content Placeholder 2">
            <a:extLst>
              <a:ext uri="{FF2B5EF4-FFF2-40B4-BE49-F238E27FC236}">
                <a16:creationId xmlns:a16="http://schemas.microsoft.com/office/drawing/2014/main" id="{9EFA7465-A6CC-4B43-B59E-0DA449C0E0EC}"/>
              </a:ext>
            </a:extLst>
          </p:cNvPr>
          <p:cNvSpPr>
            <a:spLocks noGrp="1"/>
          </p:cNvSpPr>
          <p:nvPr>
            <p:ph sz="half" idx="1"/>
          </p:nvPr>
        </p:nvSpPr>
        <p:spPr>
          <a:xfrm>
            <a:off x="533400" y="1469571"/>
            <a:ext cx="8077200" cy="4556234"/>
          </a:xfrm>
        </p:spPr>
        <p:txBody>
          <a:bodyPr/>
          <a:lstStyle/>
          <a:p>
            <a:r>
              <a:rPr lang="en-US" b="0"/>
              <a:t>Non-Hispanic Blacks tend to initiate tobacco use at a later age compared to non-Hispanic White youth, and experience inequities in smoking-related outcomes and disease later in life.</a:t>
            </a:r>
          </a:p>
          <a:p>
            <a:r>
              <a:rPr lang="en-US" b="0"/>
              <a:t>Both non-Hispanic Black youth and adults smoke menthol cigarettes at higher rates than non-Hispanic Whites; menthol cigarettes are more addictive and harder to quit.</a:t>
            </a:r>
          </a:p>
          <a:p>
            <a:r>
              <a:rPr lang="en-US" b="0"/>
              <a:t>Advertising for menthol products is more prevalent in areas with greater proportions of Black and low-income residents.</a:t>
            </a:r>
          </a:p>
          <a:p>
            <a:endParaRPr lang="en-US" b="0"/>
          </a:p>
          <a:p>
            <a:r>
              <a:rPr lang="en-US" b="0"/>
              <a:t>Cigarette smoking is significantly higher among adults with a disability (27.8%) compared to adults without a disability (13.4%). The percentage of adults with disabilities using E-cigarettes is also higher (8%) compared to adults without disabilities (3.9%).</a:t>
            </a:r>
          </a:p>
        </p:txBody>
      </p:sp>
      <p:sp>
        <p:nvSpPr>
          <p:cNvPr id="4" name="TextBox 3">
            <a:extLst>
              <a:ext uri="{FF2B5EF4-FFF2-40B4-BE49-F238E27FC236}">
                <a16:creationId xmlns:a16="http://schemas.microsoft.com/office/drawing/2014/main" id="{039E1590-BBAC-4826-92B4-49635B368B2B}"/>
              </a:ext>
            </a:extLst>
          </p:cNvPr>
          <p:cNvSpPr txBox="1"/>
          <p:nvPr/>
        </p:nvSpPr>
        <p:spPr>
          <a:xfrm>
            <a:off x="342900" y="4308221"/>
            <a:ext cx="10009414" cy="553998"/>
          </a:xfrm>
          <a:prstGeom prst="rect">
            <a:avLst/>
          </a:prstGeom>
          <a:noFill/>
        </p:spPr>
        <p:txBody>
          <a:bodyPr wrap="square" rtlCol="0">
            <a:spAutoFit/>
          </a:bodyPr>
          <a:lstStyle/>
          <a:p>
            <a:pPr marL="0" marR="0">
              <a:spcBef>
                <a:spcPts val="0"/>
              </a:spcBef>
              <a:spcAft>
                <a:spcPts val="0"/>
              </a:spcAft>
            </a:pPr>
            <a:r>
              <a:rPr lang="en-US" sz="1200">
                <a:latin typeface="Book Antiqua" panose="02040602050305030304" pitchFamily="18" charset="0"/>
              </a:rPr>
              <a:t>Source</a:t>
            </a:r>
            <a:r>
              <a:rPr lang="en-US" sz="1200">
                <a:solidFill>
                  <a:srgbClr val="003399"/>
                </a:solidFill>
                <a:latin typeface="Book Antiqua" panose="02040602050305030304" pitchFamily="18" charset="0"/>
              </a:rPr>
              <a:t>: </a:t>
            </a:r>
            <a:r>
              <a:rPr lang="en-US" sz="1200" u="sng">
                <a:solidFill>
                  <a:srgbClr val="003399"/>
                </a:solidFill>
                <a:effectLst/>
                <a:latin typeface="Book Antiqua" panose="02040602050305030304" pitchFamily="18" charset="0"/>
                <a:ea typeface="Calibri" panose="020F0502020204030204" pitchFamily="34" charset="0"/>
                <a:hlinkClick r:id="rId2">
                  <a:extLst>
                    <a:ext uri="{A12FA001-AC4F-418D-AE19-62706E023703}">
                      <ahyp:hlinkClr xmlns:ahyp="http://schemas.microsoft.com/office/drawing/2018/hyperlinkcolor" val="tx"/>
                    </a:ext>
                  </a:extLst>
                </a:hlinkClick>
              </a:rPr>
              <a:t>https://www.mass.gov/doc/youth-tobacco-use-in-massachusetts-survey-results-from-1995-to-2017-0/download</a:t>
            </a:r>
            <a:endParaRPr lang="en-US" sz="1800">
              <a:solidFill>
                <a:srgbClr val="003399"/>
              </a:solidFill>
              <a:effectLst/>
              <a:latin typeface="Calibri" panose="020F0502020204030204" pitchFamily="34" charset="0"/>
              <a:ea typeface="Calibri" panose="020F0502020204030204" pitchFamily="34" charset="0"/>
            </a:endParaRPr>
          </a:p>
          <a:p>
            <a:endParaRPr lang="en-US"/>
          </a:p>
        </p:txBody>
      </p:sp>
      <p:sp>
        <p:nvSpPr>
          <p:cNvPr id="8" name="TextBox 7">
            <a:extLst>
              <a:ext uri="{FF2B5EF4-FFF2-40B4-BE49-F238E27FC236}">
                <a16:creationId xmlns:a16="http://schemas.microsoft.com/office/drawing/2014/main" id="{4434C0B3-7C3E-4089-9EC3-05C08D98F287}"/>
              </a:ext>
            </a:extLst>
          </p:cNvPr>
          <p:cNvSpPr txBox="1"/>
          <p:nvPr/>
        </p:nvSpPr>
        <p:spPr>
          <a:xfrm>
            <a:off x="342900" y="6151118"/>
            <a:ext cx="8556171" cy="461665"/>
          </a:xfrm>
          <a:prstGeom prst="rect">
            <a:avLst/>
          </a:prstGeom>
          <a:noFill/>
        </p:spPr>
        <p:txBody>
          <a:bodyPr wrap="square" rtlCol="0">
            <a:spAutoFit/>
          </a:bodyPr>
          <a:lstStyle/>
          <a:p>
            <a:r>
              <a:rPr lang="en-US" sz="1200">
                <a:latin typeface="Book Antiqua" panose="02040602050305030304" pitchFamily="18" charset="0"/>
              </a:rPr>
              <a:t>Source</a:t>
            </a:r>
            <a:r>
              <a:rPr lang="en-US" sz="1200">
                <a:solidFill>
                  <a:srgbClr val="003399"/>
                </a:solidFill>
                <a:latin typeface="Book Antiqua" panose="02040602050305030304" pitchFamily="18" charset="0"/>
              </a:rPr>
              <a:t>: </a:t>
            </a:r>
            <a:r>
              <a:rPr lang="en-US" sz="1200">
                <a:solidFill>
                  <a:srgbClr val="003399"/>
                </a:solidFill>
                <a:latin typeface="Book Antiqua" panose="02040602050305030304" pitchFamily="18" charset="0"/>
                <a:hlinkClick r:id="rId3">
                  <a:extLst>
                    <a:ext uri="{A12FA001-AC4F-418D-AE19-62706E023703}">
                      <ahyp:hlinkClr xmlns:ahyp="http://schemas.microsoft.com/office/drawing/2018/hyperlinkcolor" val="tx"/>
                    </a:ext>
                  </a:extLst>
                </a:hlinkClick>
              </a:rPr>
              <a:t>https://www.cdc.gov/ncbddd/disabilityandhealth/smoking-in-adults.html#:~:text=Current%20cigarette%20smoking%20is%20significantly,adults%20without%20disabilities%20(3.9%25</a:t>
            </a:r>
            <a:r>
              <a:rPr lang="en-US" sz="1200">
                <a:solidFill>
                  <a:srgbClr val="0070C0"/>
                </a:solidFill>
                <a:latin typeface="Book Antiqua" panose="02040602050305030304" pitchFamily="18" charset="0"/>
                <a:hlinkClick r:id="rId3">
                  <a:extLst>
                    <a:ext uri="{A12FA001-AC4F-418D-AE19-62706E023703}">
                      <ahyp:hlinkClr xmlns:ahyp="http://schemas.microsoft.com/office/drawing/2018/hyperlinkcolor" val="tx"/>
                    </a:ext>
                  </a:extLst>
                </a:hlinkClick>
              </a:rPr>
              <a:t>)</a:t>
            </a:r>
            <a:r>
              <a:rPr lang="en-US" sz="1200">
                <a:solidFill>
                  <a:srgbClr val="0070C0"/>
                </a:solidFill>
                <a:latin typeface="Book Antiqua" panose="02040602050305030304" pitchFamily="18" charset="0"/>
              </a:rPr>
              <a:t> </a:t>
            </a:r>
          </a:p>
        </p:txBody>
      </p:sp>
    </p:spTree>
    <p:extLst>
      <p:ext uri="{BB962C8B-B14F-4D97-AF65-F5344CB8AC3E}">
        <p14:creationId xmlns:p14="http://schemas.microsoft.com/office/powerpoint/2010/main" val="2196500935"/>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33400" y="1371600"/>
            <a:ext cx="8469923" cy="4556234"/>
          </a:xfrm>
        </p:spPr>
        <p:txBody>
          <a:bodyPr/>
          <a:lstStyle/>
          <a:p>
            <a:pPr marL="457200" indent="-457200">
              <a:buFont typeface="+mj-lt"/>
              <a:buAutoNum type="arabicPeriod"/>
            </a:pPr>
            <a:r>
              <a:rPr lang="en-US" sz="2200">
                <a:ea typeface="Times New Roman" panose="02020603050405020304" pitchFamily="18" charset="0"/>
                <a:cs typeface="Times New Roman" panose="02020603050405020304" pitchFamily="18" charset="0"/>
              </a:rPr>
              <a:t>Welcome</a:t>
            </a:r>
          </a:p>
          <a:p>
            <a:pPr marL="457200" indent="-457200">
              <a:buFont typeface="+mj-lt"/>
              <a:buAutoNum type="arabicPeriod"/>
            </a:pPr>
            <a:r>
              <a:rPr lang="en-US" sz="2200">
                <a:cs typeface="Times New Roman" panose="02020603050405020304" pitchFamily="18" charset="0"/>
              </a:rPr>
              <a:t>Follow-up items from October</a:t>
            </a:r>
          </a:p>
          <a:p>
            <a:pPr marL="457200" indent="-457200">
              <a:buFont typeface="+mj-lt"/>
              <a:buAutoNum type="arabicPeriod"/>
            </a:pPr>
            <a:r>
              <a:rPr lang="en-US" sz="2200">
                <a:cs typeface="Times New Roman" panose="02020603050405020304" pitchFamily="18" charset="0"/>
              </a:rPr>
              <a:t>Review non-measure specific public comments from 2021 annual review</a:t>
            </a:r>
          </a:p>
          <a:p>
            <a:pPr marL="457200" indent="-457200">
              <a:buFont typeface="+mj-lt"/>
              <a:buAutoNum type="arabicPeriod"/>
            </a:pPr>
            <a:r>
              <a:rPr lang="en-US" sz="2200">
                <a:cs typeface="Times New Roman" panose="02020603050405020304" pitchFamily="18" charset="0"/>
              </a:rPr>
              <a:t>Annual review process</a:t>
            </a:r>
          </a:p>
          <a:p>
            <a:pPr marL="457200" indent="-457200">
              <a:buFont typeface="+mj-lt"/>
              <a:buAutoNum type="arabicPeriod"/>
            </a:pPr>
            <a:r>
              <a:rPr lang="en-US" sz="2200">
                <a:cs typeface="Times New Roman" panose="02020603050405020304" pitchFamily="18" charset="0"/>
              </a:rPr>
              <a:t>Substance use disorder measures scan</a:t>
            </a:r>
          </a:p>
          <a:p>
            <a:pPr marL="457200" indent="-457200">
              <a:buFont typeface="+mj-lt"/>
              <a:buAutoNum type="arabicPeriod"/>
            </a:pPr>
            <a:r>
              <a:rPr lang="en-US" sz="2200">
                <a:latin typeface="Book Antiqua" panose="02040602050305030304" pitchFamily="18" charset="0"/>
              </a:rPr>
              <a:t>Revisit inclusion of a measure in the Core Set that requires reporting of RELD data</a:t>
            </a:r>
            <a:endParaRPr lang="en-US" sz="2200">
              <a:cs typeface="Times New Roman" panose="02020603050405020304" pitchFamily="18" charset="0"/>
            </a:endParaRPr>
          </a:p>
          <a:p>
            <a:pPr marL="457200" indent="-457200">
              <a:buFont typeface="+mj-lt"/>
              <a:buAutoNum type="arabicPeriod"/>
            </a:pPr>
            <a:r>
              <a:rPr lang="en-US" sz="2200">
                <a:cs typeface="Times New Roman" panose="02020603050405020304" pitchFamily="18" charset="0"/>
              </a:rPr>
              <a:t>Next steps</a:t>
            </a:r>
            <a:endParaRPr lang="en-US" sz="2200"/>
          </a:p>
        </p:txBody>
      </p:sp>
      <p:sp>
        <p:nvSpPr>
          <p:cNvPr id="5" name="Rectangle 4">
            <a:extLst>
              <a:ext uri="{FF2B5EF4-FFF2-40B4-BE49-F238E27FC236}">
                <a16:creationId xmlns:a16="http://schemas.microsoft.com/office/drawing/2014/main" id="{D3915D3D-656E-48AA-8D63-358A7E5AA453}"/>
              </a:ext>
            </a:extLst>
          </p:cNvPr>
          <p:cNvSpPr/>
          <p:nvPr/>
        </p:nvSpPr>
        <p:spPr>
          <a:xfrm>
            <a:off x="0" y="1762963"/>
            <a:ext cx="9144000" cy="647634"/>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4558784"/>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EEEB2C-AAA9-41AE-BA42-09D490E33EC5}"/>
              </a:ext>
            </a:extLst>
          </p:cNvPr>
          <p:cNvSpPr>
            <a:spLocks noGrp="1"/>
          </p:cNvSpPr>
          <p:nvPr>
            <p:ph type="title"/>
          </p:nvPr>
        </p:nvSpPr>
        <p:spPr/>
        <p:txBody>
          <a:bodyPr/>
          <a:lstStyle/>
          <a:p>
            <a:r>
              <a:rPr lang="en-US"/>
              <a:t>Substance use disorder measure scan</a:t>
            </a:r>
            <a:br>
              <a:rPr lang="en-US"/>
            </a:br>
            <a:r>
              <a:rPr lang="en-US"/>
              <a:t>Youth tobacco use</a:t>
            </a:r>
          </a:p>
        </p:txBody>
      </p:sp>
      <p:sp>
        <p:nvSpPr>
          <p:cNvPr id="3" name="Content Placeholder 2">
            <a:extLst>
              <a:ext uri="{FF2B5EF4-FFF2-40B4-BE49-F238E27FC236}">
                <a16:creationId xmlns:a16="http://schemas.microsoft.com/office/drawing/2014/main" id="{9EFA7465-A6CC-4B43-B59E-0DA449C0E0EC}"/>
              </a:ext>
            </a:extLst>
          </p:cNvPr>
          <p:cNvSpPr>
            <a:spLocks noGrp="1"/>
          </p:cNvSpPr>
          <p:nvPr>
            <p:ph sz="half" idx="1"/>
          </p:nvPr>
        </p:nvSpPr>
        <p:spPr>
          <a:xfrm>
            <a:off x="533400" y="1094012"/>
            <a:ext cx="8077200" cy="4556234"/>
          </a:xfrm>
        </p:spPr>
        <p:txBody>
          <a:bodyPr/>
          <a:lstStyle/>
          <a:p>
            <a:r>
              <a:rPr lang="en-US" b="0"/>
              <a:t>The Taskforce has previously considered tobacco related quality measures, and during the 2021 Annual Review, the Taskforce recommended developmental work on </a:t>
            </a:r>
            <a:r>
              <a:rPr lang="en-US"/>
              <a:t>Tobacco Use and Help with Quitting Among Adolescents</a:t>
            </a:r>
            <a:r>
              <a:rPr lang="en-US" b="0"/>
              <a:t> through a pilot (topic to be revisited by the Taskforce in December 2020 and June 2021).</a:t>
            </a:r>
          </a:p>
          <a:p>
            <a:pPr lvl="1"/>
            <a:r>
              <a:rPr lang="en-US" b="0">
                <a:latin typeface="Book Antiqua" panose="02040602050305030304" pitchFamily="18" charset="0"/>
              </a:rPr>
              <a:t>Per NQF, this measure will be reconsidered for future implementation in the Core Quality Measures Collaborative (CQMC) Pediatric Set after it is updated to include vaping and e-cigarette use.</a:t>
            </a:r>
          </a:p>
          <a:p>
            <a:r>
              <a:rPr lang="en-US" b="0"/>
              <a:t>Since the Taskforce has already selected a measure to pilot, we will not further review other measures identified during our environmental scan (details can be found in the SUD measures crosswalk document).</a:t>
            </a:r>
          </a:p>
        </p:txBody>
      </p:sp>
    </p:spTree>
    <p:extLst>
      <p:ext uri="{BB962C8B-B14F-4D97-AF65-F5344CB8AC3E}">
        <p14:creationId xmlns:p14="http://schemas.microsoft.com/office/powerpoint/2010/main" val="4282725040"/>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BDB6EC-0416-420D-9CA1-C1B75D799B5E}"/>
              </a:ext>
            </a:extLst>
          </p:cNvPr>
          <p:cNvSpPr>
            <a:spLocks noGrp="1"/>
          </p:cNvSpPr>
          <p:nvPr>
            <p:ph type="title"/>
          </p:nvPr>
        </p:nvSpPr>
        <p:spPr/>
        <p:txBody>
          <a:bodyPr/>
          <a:lstStyle/>
          <a:p>
            <a:r>
              <a:rPr lang="en-US"/>
              <a:t>Substance use disorder measure scan</a:t>
            </a:r>
          </a:p>
        </p:txBody>
      </p:sp>
      <p:sp>
        <p:nvSpPr>
          <p:cNvPr id="3" name="Content Placeholder 2">
            <a:extLst>
              <a:ext uri="{FF2B5EF4-FFF2-40B4-BE49-F238E27FC236}">
                <a16:creationId xmlns:a16="http://schemas.microsoft.com/office/drawing/2014/main" id="{A4BFF00B-17F0-413E-86A8-B65140D729FB}"/>
              </a:ext>
            </a:extLst>
          </p:cNvPr>
          <p:cNvSpPr>
            <a:spLocks noGrp="1"/>
          </p:cNvSpPr>
          <p:nvPr>
            <p:ph sz="half" idx="1"/>
          </p:nvPr>
        </p:nvSpPr>
        <p:spPr/>
        <p:txBody>
          <a:bodyPr/>
          <a:lstStyle/>
          <a:p>
            <a:r>
              <a:rPr lang="en-US" b="0"/>
              <a:t>Does the Taskforce wish to further consider any of these measures?</a:t>
            </a:r>
          </a:p>
          <a:p>
            <a:r>
              <a:rPr lang="en-US" b="0"/>
              <a:t>Are there any other substance use disorder measures Taskforce members would like the Taskforce to consider? </a:t>
            </a:r>
          </a:p>
        </p:txBody>
      </p:sp>
    </p:spTree>
    <p:extLst>
      <p:ext uri="{BB962C8B-B14F-4D97-AF65-F5344CB8AC3E}">
        <p14:creationId xmlns:p14="http://schemas.microsoft.com/office/powerpoint/2010/main" val="1407305578"/>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33400" y="1371600"/>
            <a:ext cx="8469923" cy="4556234"/>
          </a:xfrm>
        </p:spPr>
        <p:txBody>
          <a:bodyPr/>
          <a:lstStyle/>
          <a:p>
            <a:pPr marL="457200" indent="-457200">
              <a:buFont typeface="+mj-lt"/>
              <a:buAutoNum type="arabicPeriod"/>
            </a:pPr>
            <a:r>
              <a:rPr lang="en-US" sz="2200">
                <a:ea typeface="Times New Roman" panose="02020603050405020304" pitchFamily="18" charset="0"/>
                <a:cs typeface="Times New Roman" panose="02020603050405020304" pitchFamily="18" charset="0"/>
              </a:rPr>
              <a:t>Welcome</a:t>
            </a:r>
          </a:p>
          <a:p>
            <a:pPr marL="457200" indent="-457200">
              <a:buFont typeface="+mj-lt"/>
              <a:buAutoNum type="arabicPeriod"/>
            </a:pPr>
            <a:r>
              <a:rPr lang="en-US" sz="2200">
                <a:cs typeface="Times New Roman" panose="02020603050405020304" pitchFamily="18" charset="0"/>
              </a:rPr>
              <a:t>Follow-up items from October</a:t>
            </a:r>
          </a:p>
          <a:p>
            <a:pPr marL="457200" indent="-457200">
              <a:buFont typeface="+mj-lt"/>
              <a:buAutoNum type="arabicPeriod"/>
            </a:pPr>
            <a:r>
              <a:rPr lang="en-US" sz="2200">
                <a:cs typeface="Times New Roman" panose="02020603050405020304" pitchFamily="18" charset="0"/>
              </a:rPr>
              <a:t>Review non-measure specific public comments from 2021 annual review</a:t>
            </a:r>
          </a:p>
          <a:p>
            <a:pPr marL="457200" indent="-457200">
              <a:buFont typeface="+mj-lt"/>
              <a:buAutoNum type="arabicPeriod"/>
            </a:pPr>
            <a:r>
              <a:rPr lang="en-US" sz="2200">
                <a:cs typeface="Times New Roman" panose="02020603050405020304" pitchFamily="18" charset="0"/>
              </a:rPr>
              <a:t>Annual review process</a:t>
            </a:r>
          </a:p>
          <a:p>
            <a:pPr marL="457200" indent="-457200">
              <a:buFont typeface="+mj-lt"/>
              <a:buAutoNum type="arabicPeriod"/>
            </a:pPr>
            <a:r>
              <a:rPr lang="en-US" sz="2200">
                <a:cs typeface="Times New Roman" panose="02020603050405020304" pitchFamily="18" charset="0"/>
              </a:rPr>
              <a:t>Substance use disorder measures scan</a:t>
            </a:r>
          </a:p>
          <a:p>
            <a:pPr marL="457200" indent="-457200">
              <a:buFont typeface="+mj-lt"/>
              <a:buAutoNum type="arabicPeriod"/>
            </a:pPr>
            <a:r>
              <a:rPr lang="en-US" sz="2200">
                <a:latin typeface="Book Antiqua" panose="02040602050305030304" pitchFamily="18" charset="0"/>
              </a:rPr>
              <a:t>Revisit inclusion of a measure in the Core Set that requires reporting of RELD data</a:t>
            </a:r>
            <a:endParaRPr lang="en-US" sz="2200">
              <a:cs typeface="Times New Roman" panose="02020603050405020304" pitchFamily="18" charset="0"/>
            </a:endParaRPr>
          </a:p>
          <a:p>
            <a:pPr marL="457200" indent="-457200">
              <a:buFont typeface="+mj-lt"/>
              <a:buAutoNum type="arabicPeriod"/>
            </a:pPr>
            <a:r>
              <a:rPr lang="en-US" sz="2200">
                <a:cs typeface="Times New Roman" panose="02020603050405020304" pitchFamily="18" charset="0"/>
              </a:rPr>
              <a:t>Next steps</a:t>
            </a:r>
            <a:endParaRPr lang="en-US" sz="2200"/>
          </a:p>
        </p:txBody>
      </p:sp>
      <p:sp>
        <p:nvSpPr>
          <p:cNvPr id="5" name="Rectangle 4">
            <a:extLst>
              <a:ext uri="{FF2B5EF4-FFF2-40B4-BE49-F238E27FC236}">
                <a16:creationId xmlns:a16="http://schemas.microsoft.com/office/drawing/2014/main" id="{D3915D3D-656E-48AA-8D63-358A7E5AA453}"/>
              </a:ext>
            </a:extLst>
          </p:cNvPr>
          <p:cNvSpPr/>
          <p:nvPr/>
        </p:nvSpPr>
        <p:spPr>
          <a:xfrm>
            <a:off x="0" y="4188656"/>
            <a:ext cx="9144000" cy="647634"/>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66351884"/>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92FCBD-0667-40F1-9D9B-FB541CE009C1}"/>
              </a:ext>
            </a:extLst>
          </p:cNvPr>
          <p:cNvSpPr>
            <a:spLocks noGrp="1"/>
          </p:cNvSpPr>
          <p:nvPr>
            <p:ph type="title"/>
          </p:nvPr>
        </p:nvSpPr>
        <p:spPr>
          <a:xfrm>
            <a:off x="736600" y="181254"/>
            <a:ext cx="6955118" cy="762000"/>
          </a:xfrm>
        </p:spPr>
        <p:txBody>
          <a:bodyPr/>
          <a:lstStyle/>
          <a:p>
            <a:r>
              <a:rPr lang="en-US" dirty="0"/>
              <a:t>Revisit including a measure in the Core Set that requires reporting of RELD data</a:t>
            </a:r>
            <a:br>
              <a:rPr lang="en-US" dirty="0"/>
            </a:br>
            <a:endParaRPr lang="en-US" dirty="0"/>
          </a:p>
        </p:txBody>
      </p:sp>
      <p:sp>
        <p:nvSpPr>
          <p:cNvPr id="3" name="Content Placeholder 2">
            <a:extLst>
              <a:ext uri="{FF2B5EF4-FFF2-40B4-BE49-F238E27FC236}">
                <a16:creationId xmlns:a16="http://schemas.microsoft.com/office/drawing/2014/main" id="{42550BD9-BE77-483C-852F-A54A485DF057}"/>
              </a:ext>
            </a:extLst>
          </p:cNvPr>
          <p:cNvSpPr>
            <a:spLocks noGrp="1"/>
          </p:cNvSpPr>
          <p:nvPr>
            <p:ph sz="half" idx="1"/>
          </p:nvPr>
        </p:nvSpPr>
        <p:spPr>
          <a:xfrm>
            <a:off x="533400" y="970429"/>
            <a:ext cx="8077200" cy="5724246"/>
          </a:xfrm>
        </p:spPr>
        <p:txBody>
          <a:bodyPr/>
          <a:lstStyle/>
          <a:p>
            <a:r>
              <a:rPr lang="en-US" b="0" dirty="0"/>
              <a:t>During the October 21</a:t>
            </a:r>
            <a:r>
              <a:rPr lang="en-US" b="0" baseline="30000" dirty="0"/>
              <a:t>st</a:t>
            </a:r>
            <a:r>
              <a:rPr lang="en-US" b="0" dirty="0"/>
              <a:t> Taskforce meeting, Taskforce members discussed potentially including a measure in the Core Set that requires reporting of RELD data to motivate improved ACO network provider capture of these data.</a:t>
            </a:r>
          </a:p>
          <a:p>
            <a:pPr>
              <a:spcAft>
                <a:spcPts val="600"/>
              </a:spcAft>
            </a:pPr>
            <a:r>
              <a:rPr lang="en-US" b="0" dirty="0"/>
              <a:t>The Taskforce previously recommended against measuring the percentage of attributed patients for which the ACO has complete RELD data.</a:t>
            </a:r>
          </a:p>
          <a:p>
            <a:pPr lvl="1"/>
            <a:r>
              <a:rPr lang="en-US" b="0" dirty="0"/>
              <a:t>Most organization are reportedly collecting at least REL data, but are unable to report it in a standardized way.</a:t>
            </a:r>
          </a:p>
          <a:p>
            <a:r>
              <a:rPr lang="en-US" b="0" dirty="0"/>
              <a:t>The Taskforce instead expressed interest in considering a requirement to report X number of measures within the Aligned Measure Set by race, ethnicity, language, and/or disability status in a specified format. </a:t>
            </a:r>
          </a:p>
          <a:p>
            <a:r>
              <a:rPr lang="en-US" b="0" dirty="0"/>
              <a:t>To further explore this idea, we need to address the following questions: a) which RELD variable(s), b) how many measures c) which measure(s), d) what is the specified format?</a:t>
            </a:r>
          </a:p>
          <a:p>
            <a:endParaRPr lang="en-US" b="0" dirty="0"/>
          </a:p>
        </p:txBody>
      </p:sp>
    </p:spTree>
    <p:extLst>
      <p:ext uri="{BB962C8B-B14F-4D97-AF65-F5344CB8AC3E}">
        <p14:creationId xmlns:p14="http://schemas.microsoft.com/office/powerpoint/2010/main" val="417482519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CFAAC7-C015-4120-8D56-EA174DBE0FD3}"/>
              </a:ext>
            </a:extLst>
          </p:cNvPr>
          <p:cNvSpPr>
            <a:spLocks noGrp="1"/>
          </p:cNvSpPr>
          <p:nvPr>
            <p:ph type="title"/>
          </p:nvPr>
        </p:nvSpPr>
        <p:spPr>
          <a:xfrm>
            <a:off x="736600" y="109538"/>
            <a:ext cx="6930292" cy="762000"/>
          </a:xfrm>
        </p:spPr>
        <p:txBody>
          <a:bodyPr/>
          <a:lstStyle/>
          <a:p>
            <a:r>
              <a:rPr lang="en-US" dirty="0"/>
              <a:t>Revisit including a measure in the Core Set that requires reporting of RELD data</a:t>
            </a:r>
          </a:p>
        </p:txBody>
      </p:sp>
      <p:sp>
        <p:nvSpPr>
          <p:cNvPr id="3" name="Content Placeholder 2">
            <a:extLst>
              <a:ext uri="{FF2B5EF4-FFF2-40B4-BE49-F238E27FC236}">
                <a16:creationId xmlns:a16="http://schemas.microsoft.com/office/drawing/2014/main" id="{954E1304-B64F-4FE0-BAD4-771DC2901E71}"/>
              </a:ext>
            </a:extLst>
          </p:cNvPr>
          <p:cNvSpPr>
            <a:spLocks noGrp="1"/>
          </p:cNvSpPr>
          <p:nvPr>
            <p:ph sz="half" idx="1"/>
          </p:nvPr>
        </p:nvSpPr>
        <p:spPr/>
        <p:txBody>
          <a:bodyPr/>
          <a:lstStyle/>
          <a:p>
            <a:r>
              <a:rPr lang="en-US" b="0" dirty="0"/>
              <a:t>Before we begin discussing the key questions, we will note that this is an evolving conversation.</a:t>
            </a:r>
          </a:p>
          <a:p>
            <a:r>
              <a:rPr lang="en-US" b="0" dirty="0"/>
              <a:t>As MassHealth shared last month, it is doing some formative work on these topics.</a:t>
            </a:r>
          </a:p>
          <a:p>
            <a:r>
              <a:rPr lang="en-US" b="0" dirty="0"/>
              <a:t>As a result, we will visit this topic again in the new year when MassHealth has made some more progress in its work.</a:t>
            </a:r>
          </a:p>
          <a:p>
            <a:r>
              <a:rPr lang="en-US" b="0" dirty="0"/>
              <a:t>Today, we seek your initial input on these topics.</a:t>
            </a:r>
          </a:p>
        </p:txBody>
      </p:sp>
    </p:spTree>
    <p:extLst>
      <p:ext uri="{BB962C8B-B14F-4D97-AF65-F5344CB8AC3E}">
        <p14:creationId xmlns:p14="http://schemas.microsoft.com/office/powerpoint/2010/main" val="2217316014"/>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4FA169-451F-4132-9E15-17662AC54C30}"/>
              </a:ext>
            </a:extLst>
          </p:cNvPr>
          <p:cNvSpPr>
            <a:spLocks noGrp="1"/>
          </p:cNvSpPr>
          <p:nvPr>
            <p:ph type="title"/>
          </p:nvPr>
        </p:nvSpPr>
        <p:spPr>
          <a:xfrm>
            <a:off x="736599" y="109538"/>
            <a:ext cx="7403353" cy="762000"/>
          </a:xfrm>
        </p:spPr>
        <p:txBody>
          <a:bodyPr/>
          <a:lstStyle/>
          <a:p>
            <a:r>
              <a:rPr lang="en-US"/>
              <a:t>Revisit including a measure in the Core Set that requires reporting of RELD data</a:t>
            </a:r>
          </a:p>
        </p:txBody>
      </p:sp>
      <p:sp>
        <p:nvSpPr>
          <p:cNvPr id="3" name="Content Placeholder 2">
            <a:extLst>
              <a:ext uri="{FF2B5EF4-FFF2-40B4-BE49-F238E27FC236}">
                <a16:creationId xmlns:a16="http://schemas.microsoft.com/office/drawing/2014/main" id="{0B3483BA-1404-4855-A8DE-0F782AB9B6DB}"/>
              </a:ext>
            </a:extLst>
          </p:cNvPr>
          <p:cNvSpPr>
            <a:spLocks noGrp="1"/>
          </p:cNvSpPr>
          <p:nvPr>
            <p:ph sz="half" idx="1"/>
          </p:nvPr>
        </p:nvSpPr>
        <p:spPr/>
        <p:txBody>
          <a:bodyPr/>
          <a:lstStyle/>
          <a:p>
            <a:pPr marL="0" indent="0">
              <a:buNone/>
            </a:pPr>
            <a:r>
              <a:rPr lang="en-US"/>
              <a:t>Which RELD variable(s) (i.e., race, ethnicity, language, and/or disabilities)?</a:t>
            </a:r>
          </a:p>
          <a:p>
            <a:r>
              <a:rPr lang="en-US" b="0"/>
              <a:t>Allowing use of one or some elements may make sense if ability to report on elements may depend on having standard reporting categories.</a:t>
            </a:r>
          </a:p>
          <a:p>
            <a:r>
              <a:rPr lang="en-US" b="0"/>
              <a:t>Requiring all will provide additional insight into opportunities to promote health equity across race, ethnicity, language, and disability status.</a:t>
            </a:r>
            <a:endParaRPr lang="en-US"/>
          </a:p>
          <a:p>
            <a:endParaRPr lang="en-US"/>
          </a:p>
        </p:txBody>
      </p:sp>
    </p:spTree>
    <p:extLst>
      <p:ext uri="{BB962C8B-B14F-4D97-AF65-F5344CB8AC3E}">
        <p14:creationId xmlns:p14="http://schemas.microsoft.com/office/powerpoint/2010/main" val="1902974447"/>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2788F6-0351-4481-987A-99EDF7F23ADB}"/>
              </a:ext>
            </a:extLst>
          </p:cNvPr>
          <p:cNvSpPr>
            <a:spLocks noGrp="1"/>
          </p:cNvSpPr>
          <p:nvPr>
            <p:ph type="title"/>
          </p:nvPr>
        </p:nvSpPr>
        <p:spPr>
          <a:xfrm>
            <a:off x="736599" y="109538"/>
            <a:ext cx="7582647" cy="762000"/>
          </a:xfrm>
        </p:spPr>
        <p:txBody>
          <a:bodyPr/>
          <a:lstStyle/>
          <a:p>
            <a:r>
              <a:rPr lang="en-US"/>
              <a:t>Revisit including a measure in the Core Set that requires reporting of RELD data</a:t>
            </a:r>
          </a:p>
        </p:txBody>
      </p:sp>
      <p:sp>
        <p:nvSpPr>
          <p:cNvPr id="3" name="Content Placeholder 2">
            <a:extLst>
              <a:ext uri="{FF2B5EF4-FFF2-40B4-BE49-F238E27FC236}">
                <a16:creationId xmlns:a16="http://schemas.microsoft.com/office/drawing/2014/main" id="{F122E5D3-5428-4FD0-BEE7-843B9B49CC20}"/>
              </a:ext>
            </a:extLst>
          </p:cNvPr>
          <p:cNvSpPr>
            <a:spLocks noGrp="1"/>
          </p:cNvSpPr>
          <p:nvPr>
            <p:ph sz="half" idx="1"/>
          </p:nvPr>
        </p:nvSpPr>
        <p:spPr>
          <a:xfrm>
            <a:off x="533400" y="1066800"/>
            <a:ext cx="8077200" cy="5376862"/>
          </a:xfrm>
        </p:spPr>
        <p:txBody>
          <a:bodyPr/>
          <a:lstStyle/>
          <a:p>
            <a:pPr marL="0" indent="0">
              <a:buNone/>
            </a:pPr>
            <a:r>
              <a:rPr lang="en-US"/>
              <a:t>How many measures? </a:t>
            </a:r>
          </a:p>
          <a:p>
            <a:r>
              <a:rPr lang="en-US" b="0"/>
              <a:t>Focusing on fewer measures may impose less administrative burden and allow organizations to focus on establishing a reporting process.</a:t>
            </a:r>
          </a:p>
          <a:p>
            <a:r>
              <a:rPr lang="en-US" b="0"/>
              <a:t>Focusing on more measures will provide additional insight into opportunities to promote health equity but may increase administrative burden.</a:t>
            </a:r>
          </a:p>
          <a:p>
            <a:endParaRPr lang="en-US" b="0"/>
          </a:p>
          <a:p>
            <a:pPr marL="0" indent="0">
              <a:buNone/>
            </a:pPr>
            <a:endParaRPr lang="en-US" b="0"/>
          </a:p>
        </p:txBody>
      </p:sp>
    </p:spTree>
    <p:extLst>
      <p:ext uri="{BB962C8B-B14F-4D97-AF65-F5344CB8AC3E}">
        <p14:creationId xmlns:p14="http://schemas.microsoft.com/office/powerpoint/2010/main" val="2090324227"/>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2788F6-0351-4481-987A-99EDF7F23ADB}"/>
              </a:ext>
            </a:extLst>
          </p:cNvPr>
          <p:cNvSpPr>
            <a:spLocks noGrp="1"/>
          </p:cNvSpPr>
          <p:nvPr>
            <p:ph type="title"/>
          </p:nvPr>
        </p:nvSpPr>
        <p:spPr>
          <a:xfrm>
            <a:off x="736599" y="109538"/>
            <a:ext cx="7582647" cy="762000"/>
          </a:xfrm>
        </p:spPr>
        <p:txBody>
          <a:bodyPr/>
          <a:lstStyle/>
          <a:p>
            <a:r>
              <a:rPr lang="en-US"/>
              <a:t>Revisit including a measure in the Core Set that requires reporting of RELD data</a:t>
            </a:r>
          </a:p>
        </p:txBody>
      </p:sp>
      <p:sp>
        <p:nvSpPr>
          <p:cNvPr id="3" name="Content Placeholder 2">
            <a:extLst>
              <a:ext uri="{FF2B5EF4-FFF2-40B4-BE49-F238E27FC236}">
                <a16:creationId xmlns:a16="http://schemas.microsoft.com/office/drawing/2014/main" id="{F122E5D3-5428-4FD0-BEE7-843B9B49CC20}"/>
              </a:ext>
            </a:extLst>
          </p:cNvPr>
          <p:cNvSpPr>
            <a:spLocks noGrp="1"/>
          </p:cNvSpPr>
          <p:nvPr>
            <p:ph sz="half" idx="1"/>
          </p:nvPr>
        </p:nvSpPr>
        <p:spPr>
          <a:xfrm>
            <a:off x="533400" y="1066800"/>
            <a:ext cx="8077200" cy="5376862"/>
          </a:xfrm>
        </p:spPr>
        <p:txBody>
          <a:bodyPr/>
          <a:lstStyle/>
          <a:p>
            <a:pPr marL="0" indent="0">
              <a:buNone/>
            </a:pPr>
            <a:r>
              <a:rPr lang="en-US"/>
              <a:t>What measures (options continue on the next slide)?</a:t>
            </a:r>
          </a:p>
          <a:p>
            <a:pPr marL="457200" indent="-457200">
              <a:buFont typeface="+mj-lt"/>
              <a:buAutoNum type="arabicPeriod"/>
            </a:pPr>
            <a:r>
              <a:rPr lang="en-US" b="0"/>
              <a:t>Measures agreed to during negotiation between payers and providers.</a:t>
            </a:r>
          </a:p>
          <a:p>
            <a:pPr marL="457200" indent="-457200">
              <a:buFont typeface="+mj-lt"/>
              <a:buAutoNum type="arabicPeriod"/>
            </a:pPr>
            <a:r>
              <a:rPr lang="en-US" b="0"/>
              <a:t>Measures with the greatest disparities (as identified by our current annual review process).</a:t>
            </a:r>
          </a:p>
          <a:p>
            <a:endParaRPr lang="en-US" b="0"/>
          </a:p>
          <a:p>
            <a:endParaRPr lang="en-US" b="0"/>
          </a:p>
          <a:p>
            <a:pPr lvl="1"/>
            <a:endParaRPr lang="en-US" b="0"/>
          </a:p>
          <a:p>
            <a:pPr marL="0" indent="0">
              <a:buNone/>
            </a:pPr>
            <a:endParaRPr lang="en-US" b="0"/>
          </a:p>
        </p:txBody>
      </p:sp>
    </p:spTree>
    <p:extLst>
      <p:ext uri="{BB962C8B-B14F-4D97-AF65-F5344CB8AC3E}">
        <p14:creationId xmlns:p14="http://schemas.microsoft.com/office/powerpoint/2010/main" val="173962392"/>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2788F6-0351-4481-987A-99EDF7F23ADB}"/>
              </a:ext>
            </a:extLst>
          </p:cNvPr>
          <p:cNvSpPr>
            <a:spLocks noGrp="1"/>
          </p:cNvSpPr>
          <p:nvPr>
            <p:ph type="title"/>
          </p:nvPr>
        </p:nvSpPr>
        <p:spPr>
          <a:xfrm>
            <a:off x="736599" y="109538"/>
            <a:ext cx="7582647" cy="762000"/>
          </a:xfrm>
        </p:spPr>
        <p:txBody>
          <a:bodyPr/>
          <a:lstStyle/>
          <a:p>
            <a:r>
              <a:rPr lang="en-US"/>
              <a:t>Revisit including a measure in the Core Set that requires reporting of RELD data</a:t>
            </a:r>
          </a:p>
        </p:txBody>
      </p:sp>
      <p:sp>
        <p:nvSpPr>
          <p:cNvPr id="3" name="Content Placeholder 2">
            <a:extLst>
              <a:ext uri="{FF2B5EF4-FFF2-40B4-BE49-F238E27FC236}">
                <a16:creationId xmlns:a16="http://schemas.microsoft.com/office/drawing/2014/main" id="{F122E5D3-5428-4FD0-BEE7-843B9B49CC20}"/>
              </a:ext>
            </a:extLst>
          </p:cNvPr>
          <p:cNvSpPr>
            <a:spLocks noGrp="1"/>
          </p:cNvSpPr>
          <p:nvPr>
            <p:ph sz="half" idx="1"/>
          </p:nvPr>
        </p:nvSpPr>
        <p:spPr>
          <a:xfrm>
            <a:off x="480290" y="1186070"/>
            <a:ext cx="8610600" cy="5376862"/>
          </a:xfrm>
        </p:spPr>
        <p:txBody>
          <a:bodyPr/>
          <a:lstStyle/>
          <a:p>
            <a:pPr marL="0" indent="0">
              <a:buNone/>
            </a:pPr>
            <a:r>
              <a:rPr lang="en-US"/>
              <a:t>What measures (options continue on the next slide)?</a:t>
            </a:r>
          </a:p>
          <a:p>
            <a:pPr marL="457200" indent="-457200">
              <a:buFont typeface="+mj-lt"/>
              <a:buAutoNum type="arabicPeriod" startAt="3"/>
            </a:pPr>
            <a:r>
              <a:rPr lang="en-US" b="0"/>
              <a:t>Measures within the Aligned Measure Set for which there are rough MIPS eCQM equivalents, as these are more easily reported by providers </a:t>
            </a:r>
          </a:p>
          <a:p>
            <a:endParaRPr lang="en-US" b="0"/>
          </a:p>
          <a:p>
            <a:endParaRPr lang="en-US" b="0"/>
          </a:p>
          <a:p>
            <a:pPr lvl="1"/>
            <a:endParaRPr lang="en-US" b="0"/>
          </a:p>
          <a:p>
            <a:pPr marL="0" indent="0">
              <a:buNone/>
            </a:pPr>
            <a:endParaRPr lang="en-US" b="0"/>
          </a:p>
        </p:txBody>
      </p:sp>
      <p:graphicFrame>
        <p:nvGraphicFramePr>
          <p:cNvPr id="6" name="Table 5">
            <a:extLst>
              <a:ext uri="{FF2B5EF4-FFF2-40B4-BE49-F238E27FC236}">
                <a16:creationId xmlns:a16="http://schemas.microsoft.com/office/drawing/2014/main" id="{609DAC30-AABA-463D-89D6-32F5B6CABEDF}"/>
              </a:ext>
            </a:extLst>
          </p:cNvPr>
          <p:cNvGraphicFramePr>
            <a:graphicFrameLocks noGrp="1"/>
          </p:cNvGraphicFramePr>
          <p:nvPr>
            <p:extLst>
              <p:ext uri="{D42A27DB-BD31-4B8C-83A1-F6EECF244321}">
                <p14:modId xmlns:p14="http://schemas.microsoft.com/office/powerpoint/2010/main" val="2253496585"/>
              </p:ext>
            </p:extLst>
          </p:nvPr>
        </p:nvGraphicFramePr>
        <p:xfrm>
          <a:off x="524162" y="2643685"/>
          <a:ext cx="8543023" cy="3263773"/>
        </p:xfrm>
        <a:graphic>
          <a:graphicData uri="http://schemas.openxmlformats.org/drawingml/2006/table">
            <a:tbl>
              <a:tblPr firstRow="1" firstCol="1" bandRow="1"/>
              <a:tblGrid>
                <a:gridCol w="7786910">
                  <a:extLst>
                    <a:ext uri="{9D8B030D-6E8A-4147-A177-3AD203B41FA5}">
                      <a16:colId xmlns:a16="http://schemas.microsoft.com/office/drawing/2014/main" val="3140732611"/>
                    </a:ext>
                  </a:extLst>
                </a:gridCol>
                <a:gridCol w="756113">
                  <a:extLst>
                    <a:ext uri="{9D8B030D-6E8A-4147-A177-3AD203B41FA5}">
                      <a16:colId xmlns:a16="http://schemas.microsoft.com/office/drawing/2014/main" val="2282612117"/>
                    </a:ext>
                  </a:extLst>
                </a:gridCol>
              </a:tblGrid>
              <a:tr h="0">
                <a:tc>
                  <a:txBody>
                    <a:bodyPr/>
                    <a:lstStyle/>
                    <a:p>
                      <a:pPr marL="0" marR="0">
                        <a:lnSpc>
                          <a:spcPct val="107000"/>
                        </a:lnSpc>
                        <a:spcBef>
                          <a:spcPts val="0"/>
                        </a:spcBef>
                        <a:spcAft>
                          <a:spcPts val="0"/>
                        </a:spcAft>
                      </a:pPr>
                      <a:r>
                        <a:rPr lang="en-US" sz="1600" b="1">
                          <a:effectLst/>
                          <a:latin typeface="Book Antiqua" panose="02040602050305030304" pitchFamily="18" charset="0"/>
                          <a:ea typeface="Calibri" panose="020F0502020204030204" pitchFamily="34" charset="0"/>
                          <a:cs typeface="Times New Roman" panose="02020603050405020304" pitchFamily="18" charset="0"/>
                        </a:rPr>
                        <a:t>Measure</a:t>
                      </a:r>
                      <a:endParaRPr lang="en-US" sz="1600">
                        <a:effectLst/>
                        <a:latin typeface="Book Antiqua" panose="0204060205030503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tc>
                  <a:txBody>
                    <a:bodyPr/>
                    <a:lstStyle/>
                    <a:p>
                      <a:pPr marL="0" marR="0">
                        <a:lnSpc>
                          <a:spcPct val="107000"/>
                        </a:lnSpc>
                        <a:spcBef>
                          <a:spcPts val="0"/>
                        </a:spcBef>
                        <a:spcAft>
                          <a:spcPts val="0"/>
                        </a:spcAft>
                      </a:pPr>
                      <a:r>
                        <a:rPr lang="en-US" sz="1600" b="1">
                          <a:solidFill>
                            <a:srgbClr val="000000"/>
                          </a:solidFill>
                          <a:effectLst/>
                          <a:latin typeface="Book Antiqua" panose="02040602050305030304" pitchFamily="18" charset="0"/>
                          <a:ea typeface="Calibri" panose="020F0502020204030204" pitchFamily="34" charset="0"/>
                          <a:cs typeface="Times New Roman" panose="02020603050405020304" pitchFamily="18" charset="0"/>
                        </a:rPr>
                        <a:t>Set</a:t>
                      </a:r>
                      <a:endParaRPr lang="en-US" sz="1600">
                        <a:effectLst/>
                        <a:latin typeface="Book Antiqua" panose="0204060205030503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extLst>
                  <a:ext uri="{0D108BD9-81ED-4DB2-BD59-A6C34878D82A}">
                    <a16:rowId xmlns:a16="http://schemas.microsoft.com/office/drawing/2014/main" val="1838482667"/>
                  </a:ext>
                </a:extLst>
              </a:tr>
              <a:tr h="0">
                <a:tc>
                  <a:txBody>
                    <a:bodyPr/>
                    <a:lstStyle/>
                    <a:p>
                      <a:pPr marL="0" marR="0">
                        <a:lnSpc>
                          <a:spcPct val="107000"/>
                        </a:lnSpc>
                        <a:spcBef>
                          <a:spcPts val="0"/>
                        </a:spcBef>
                        <a:spcAft>
                          <a:spcPts val="0"/>
                        </a:spcAft>
                      </a:pPr>
                      <a:r>
                        <a:rPr lang="en-US" sz="1600">
                          <a:effectLst/>
                          <a:latin typeface="Book Antiqua" panose="02040602050305030304" pitchFamily="18" charset="0"/>
                          <a:ea typeface="Calibri" panose="020F0502020204030204" pitchFamily="34" charset="0"/>
                          <a:cs typeface="Times New Roman" panose="02020603050405020304" pitchFamily="18" charset="0"/>
                        </a:rPr>
                        <a:t>Controlling High Blood Pressur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a:effectLst/>
                          <a:latin typeface="Book Antiqua" panose="02040602050305030304" pitchFamily="18" charset="0"/>
                          <a:ea typeface="Calibri" panose="020F0502020204030204" pitchFamily="34" charset="0"/>
                          <a:cs typeface="Times New Roman" panose="02020603050405020304" pitchFamily="18" charset="0"/>
                        </a:rPr>
                        <a:t>Cor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13959546"/>
                  </a:ext>
                </a:extLst>
              </a:tr>
              <a:tr h="0">
                <a:tc>
                  <a:txBody>
                    <a:bodyPr/>
                    <a:lstStyle/>
                    <a:p>
                      <a:pPr marL="0" marR="0">
                        <a:lnSpc>
                          <a:spcPct val="107000"/>
                        </a:lnSpc>
                        <a:spcBef>
                          <a:spcPts val="0"/>
                        </a:spcBef>
                        <a:spcAft>
                          <a:spcPts val="0"/>
                        </a:spcAft>
                      </a:pPr>
                      <a:r>
                        <a:rPr lang="en-US" sz="1600">
                          <a:effectLst/>
                          <a:latin typeface="Book Antiqua" panose="02040602050305030304" pitchFamily="18" charset="0"/>
                          <a:ea typeface="Calibri" panose="020F0502020204030204" pitchFamily="34" charset="0"/>
                          <a:cs typeface="Times New Roman" panose="02020603050405020304" pitchFamily="18" charset="0"/>
                        </a:rPr>
                        <a:t>Hemoglobin A1c (HbA1c) Poor Control (&gt;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a:effectLst/>
                          <a:latin typeface="Book Antiqua" panose="02040602050305030304" pitchFamily="18" charset="0"/>
                          <a:ea typeface="Calibri" panose="020F0502020204030204" pitchFamily="34" charset="0"/>
                          <a:cs typeface="Times New Roman" panose="02020603050405020304" pitchFamily="18" charset="0"/>
                        </a:rPr>
                        <a:t>Cor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05656189"/>
                  </a:ext>
                </a:extLst>
              </a:tr>
              <a:tr h="0">
                <a:tc>
                  <a:txBody>
                    <a:bodyPr/>
                    <a:lstStyle/>
                    <a:p>
                      <a:pPr marL="0" marR="0">
                        <a:lnSpc>
                          <a:spcPct val="107000"/>
                        </a:lnSpc>
                        <a:spcBef>
                          <a:spcPts val="0"/>
                        </a:spcBef>
                        <a:spcAft>
                          <a:spcPts val="0"/>
                        </a:spcAft>
                      </a:pPr>
                      <a:r>
                        <a:rPr lang="en-US" sz="1600">
                          <a:effectLst/>
                          <a:latin typeface="Book Antiqua" panose="02040602050305030304" pitchFamily="18" charset="0"/>
                          <a:ea typeface="Calibri" panose="020F0502020204030204" pitchFamily="34" charset="0"/>
                          <a:cs typeface="Times New Roman" panose="02020603050405020304" pitchFamily="18" charset="0"/>
                        </a:rPr>
                        <a:t>Screening for Clinical Depression and Follow-Up Pla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a:effectLst/>
                          <a:latin typeface="Book Antiqua" panose="02040602050305030304" pitchFamily="18" charset="0"/>
                          <a:ea typeface="Calibri" panose="020F0502020204030204" pitchFamily="34" charset="0"/>
                          <a:cs typeface="Times New Roman" panose="02020603050405020304" pitchFamily="18" charset="0"/>
                        </a:rPr>
                        <a:t>Cor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46534702"/>
                  </a:ext>
                </a:extLst>
              </a:tr>
              <a:tr h="0">
                <a:tc>
                  <a:txBody>
                    <a:bodyPr/>
                    <a:lstStyle/>
                    <a:p>
                      <a:pPr marL="0" marR="0">
                        <a:lnSpc>
                          <a:spcPct val="107000"/>
                        </a:lnSpc>
                        <a:spcBef>
                          <a:spcPts val="0"/>
                        </a:spcBef>
                        <a:spcAft>
                          <a:spcPts val="0"/>
                        </a:spcAft>
                      </a:pPr>
                      <a:r>
                        <a:rPr lang="en-US" sz="1600">
                          <a:effectLst/>
                          <a:latin typeface="Book Antiqua" panose="02040602050305030304" pitchFamily="18" charset="0"/>
                          <a:ea typeface="Calibri" panose="020F0502020204030204" pitchFamily="34" charset="0"/>
                          <a:cs typeface="Times New Roman" panose="02020603050405020304" pitchFamily="18" charset="0"/>
                        </a:rPr>
                        <a:t>Breast Cancer Screening</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a:effectLst/>
                          <a:latin typeface="Book Antiqua" panose="02040602050305030304" pitchFamily="18" charset="0"/>
                          <a:ea typeface="Calibri" panose="020F0502020204030204" pitchFamily="34" charset="0"/>
                          <a:cs typeface="Times New Roman" panose="02020603050405020304" pitchFamily="18" charset="0"/>
                        </a:rPr>
                        <a:t>Menu</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96545318"/>
                  </a:ext>
                </a:extLst>
              </a:tr>
              <a:tr h="0">
                <a:tc>
                  <a:txBody>
                    <a:bodyPr/>
                    <a:lstStyle/>
                    <a:p>
                      <a:pPr marL="0" marR="0">
                        <a:lnSpc>
                          <a:spcPct val="107000"/>
                        </a:lnSpc>
                        <a:spcBef>
                          <a:spcPts val="0"/>
                        </a:spcBef>
                        <a:spcAft>
                          <a:spcPts val="0"/>
                        </a:spcAft>
                      </a:pPr>
                      <a:r>
                        <a:rPr lang="en-US" sz="1600">
                          <a:effectLst/>
                          <a:latin typeface="Book Antiqua" panose="02040602050305030304" pitchFamily="18" charset="0"/>
                          <a:ea typeface="Calibri" panose="020F0502020204030204" pitchFamily="34" charset="0"/>
                          <a:cs typeface="Times New Roman" panose="02020603050405020304" pitchFamily="18" charset="0"/>
                        </a:rPr>
                        <a:t>Childhood Immunization Status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a:effectLst/>
                          <a:latin typeface="Book Antiqua" panose="02040602050305030304" pitchFamily="18" charset="0"/>
                          <a:ea typeface="Calibri" panose="020F0502020204030204" pitchFamily="34" charset="0"/>
                          <a:cs typeface="Times New Roman" panose="02020603050405020304" pitchFamily="18" charset="0"/>
                        </a:rPr>
                        <a:t>Menu</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7113362"/>
                  </a:ext>
                </a:extLst>
              </a:tr>
              <a:tr h="0">
                <a:tc>
                  <a:txBody>
                    <a:bodyPr/>
                    <a:lstStyle/>
                    <a:p>
                      <a:pPr marL="0" marR="0">
                        <a:lnSpc>
                          <a:spcPct val="107000"/>
                        </a:lnSpc>
                        <a:spcBef>
                          <a:spcPts val="0"/>
                        </a:spcBef>
                        <a:spcAft>
                          <a:spcPts val="0"/>
                        </a:spcAft>
                      </a:pPr>
                      <a:r>
                        <a:rPr lang="en-US" sz="1600">
                          <a:effectLst/>
                          <a:latin typeface="Book Antiqua" panose="02040602050305030304" pitchFamily="18" charset="0"/>
                          <a:ea typeface="Calibri" panose="020F0502020204030204" pitchFamily="34" charset="0"/>
                          <a:cs typeface="Times New Roman" panose="02020603050405020304" pitchFamily="18" charset="0"/>
                        </a:rPr>
                        <a:t>Cervical Cancer Screening</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a:effectLst/>
                          <a:latin typeface="Book Antiqua" panose="02040602050305030304" pitchFamily="18" charset="0"/>
                          <a:ea typeface="Calibri" panose="020F0502020204030204" pitchFamily="34" charset="0"/>
                          <a:cs typeface="Times New Roman" panose="02020603050405020304" pitchFamily="18" charset="0"/>
                        </a:rPr>
                        <a:t>Menu</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43467150"/>
                  </a:ext>
                </a:extLst>
              </a:tr>
              <a:tr h="0">
                <a:tc>
                  <a:txBody>
                    <a:bodyPr/>
                    <a:lstStyle/>
                    <a:p>
                      <a:pPr marL="0" marR="0">
                        <a:lnSpc>
                          <a:spcPct val="107000"/>
                        </a:lnSpc>
                        <a:spcBef>
                          <a:spcPts val="0"/>
                        </a:spcBef>
                        <a:spcAft>
                          <a:spcPts val="0"/>
                        </a:spcAft>
                      </a:pPr>
                      <a:r>
                        <a:rPr lang="en-US" sz="1600">
                          <a:effectLst/>
                          <a:latin typeface="Book Antiqua" panose="02040602050305030304" pitchFamily="18" charset="0"/>
                          <a:ea typeface="Calibri" panose="020F0502020204030204" pitchFamily="34" charset="0"/>
                          <a:cs typeface="Times New Roman" panose="02020603050405020304" pitchFamily="18" charset="0"/>
                        </a:rPr>
                        <a:t>Child and Adolescent Major Depressive Disorder (MDD): Suicide Risk Assessmen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a:effectLst/>
                          <a:latin typeface="Book Antiqua" panose="02040602050305030304" pitchFamily="18" charset="0"/>
                          <a:ea typeface="Calibri" panose="020F0502020204030204" pitchFamily="34" charset="0"/>
                          <a:cs typeface="Times New Roman" panose="02020603050405020304" pitchFamily="18" charset="0"/>
                        </a:rPr>
                        <a:t>Menu</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20195534"/>
                  </a:ext>
                </a:extLst>
              </a:tr>
              <a:tr h="0">
                <a:tc>
                  <a:txBody>
                    <a:bodyPr/>
                    <a:lstStyle/>
                    <a:p>
                      <a:pPr marL="0" marR="0">
                        <a:lnSpc>
                          <a:spcPct val="107000"/>
                        </a:lnSpc>
                        <a:spcBef>
                          <a:spcPts val="0"/>
                        </a:spcBef>
                        <a:spcAft>
                          <a:spcPts val="0"/>
                        </a:spcAft>
                      </a:pPr>
                      <a:r>
                        <a:rPr lang="en-US" sz="1600">
                          <a:effectLst/>
                          <a:latin typeface="Book Antiqua" panose="02040602050305030304" pitchFamily="18" charset="0"/>
                          <a:ea typeface="Calibri" panose="020F0502020204030204" pitchFamily="34" charset="0"/>
                          <a:cs typeface="Times New Roman" panose="02020603050405020304" pitchFamily="18" charset="0"/>
                        </a:rPr>
                        <a:t>Chlamydia Screening</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a:effectLst/>
                          <a:latin typeface="Book Antiqua" panose="02040602050305030304" pitchFamily="18" charset="0"/>
                          <a:ea typeface="Calibri" panose="020F0502020204030204" pitchFamily="34" charset="0"/>
                          <a:cs typeface="Times New Roman" panose="02020603050405020304" pitchFamily="18" charset="0"/>
                        </a:rPr>
                        <a:t>Menu</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592420"/>
                  </a:ext>
                </a:extLst>
              </a:tr>
              <a:tr h="0">
                <a:tc>
                  <a:txBody>
                    <a:bodyPr/>
                    <a:lstStyle/>
                    <a:p>
                      <a:pPr marL="0" marR="0">
                        <a:lnSpc>
                          <a:spcPct val="107000"/>
                        </a:lnSpc>
                        <a:spcBef>
                          <a:spcPts val="0"/>
                        </a:spcBef>
                        <a:spcAft>
                          <a:spcPts val="0"/>
                        </a:spcAft>
                      </a:pPr>
                      <a:r>
                        <a:rPr lang="en-US" sz="1600">
                          <a:effectLst/>
                          <a:latin typeface="Book Antiqua" panose="02040602050305030304" pitchFamily="18" charset="0"/>
                          <a:ea typeface="Calibri" panose="020F0502020204030204" pitchFamily="34" charset="0"/>
                          <a:cs typeface="Times New Roman" panose="02020603050405020304" pitchFamily="18" charset="0"/>
                        </a:rPr>
                        <a:t>Colorectal Cancer Screening</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a:effectLst/>
                          <a:latin typeface="Book Antiqua" panose="02040602050305030304" pitchFamily="18" charset="0"/>
                          <a:ea typeface="Calibri" panose="020F0502020204030204" pitchFamily="34" charset="0"/>
                          <a:cs typeface="Times New Roman" panose="02020603050405020304" pitchFamily="18" charset="0"/>
                        </a:rPr>
                        <a:t>Menu</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06995829"/>
                  </a:ext>
                </a:extLst>
              </a:tr>
              <a:tr h="0">
                <a:tc>
                  <a:txBody>
                    <a:bodyPr/>
                    <a:lstStyle/>
                    <a:p>
                      <a:pPr marL="0" marR="0">
                        <a:lnSpc>
                          <a:spcPct val="107000"/>
                        </a:lnSpc>
                        <a:spcBef>
                          <a:spcPts val="0"/>
                        </a:spcBef>
                        <a:spcAft>
                          <a:spcPts val="0"/>
                        </a:spcAft>
                      </a:pPr>
                      <a:r>
                        <a:rPr lang="en-US" sz="1600">
                          <a:effectLst/>
                          <a:latin typeface="Book Antiqua" panose="02040602050305030304" pitchFamily="18" charset="0"/>
                          <a:ea typeface="Calibri" panose="020F0502020204030204" pitchFamily="34" charset="0"/>
                          <a:cs typeface="Times New Roman" panose="02020603050405020304" pitchFamily="18" charset="0"/>
                        </a:rPr>
                        <a:t>Diabetes Eye Ex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a:effectLst/>
                          <a:latin typeface="Book Antiqua" panose="02040602050305030304" pitchFamily="18" charset="0"/>
                          <a:ea typeface="Calibri" panose="020F0502020204030204" pitchFamily="34" charset="0"/>
                          <a:cs typeface="Times New Roman" panose="02020603050405020304" pitchFamily="18" charset="0"/>
                        </a:rPr>
                        <a:t>Menu</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07529608"/>
                  </a:ext>
                </a:extLst>
              </a:tr>
              <a:tr h="0">
                <a:tc>
                  <a:txBody>
                    <a:bodyPr/>
                    <a:lstStyle/>
                    <a:p>
                      <a:pPr marL="0" marR="0">
                        <a:lnSpc>
                          <a:spcPct val="107000"/>
                        </a:lnSpc>
                        <a:spcBef>
                          <a:spcPts val="0"/>
                        </a:spcBef>
                        <a:spcAft>
                          <a:spcPts val="0"/>
                        </a:spcAft>
                      </a:pPr>
                      <a:r>
                        <a:rPr lang="en-US" sz="1600">
                          <a:effectLst/>
                          <a:latin typeface="Book Antiqua" panose="02040602050305030304" pitchFamily="18" charset="0"/>
                          <a:ea typeface="Calibri" panose="020F0502020204030204" pitchFamily="34" charset="0"/>
                          <a:cs typeface="Times New Roman" panose="02020603050405020304" pitchFamily="18" charset="0"/>
                        </a:rPr>
                        <a:t>Influenza Immunizat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a:effectLst/>
                          <a:latin typeface="Book Antiqua" panose="02040602050305030304" pitchFamily="18" charset="0"/>
                          <a:ea typeface="Calibri" panose="020F0502020204030204" pitchFamily="34" charset="0"/>
                          <a:cs typeface="Times New Roman" panose="02020603050405020304" pitchFamily="18" charset="0"/>
                        </a:rPr>
                        <a:t>Menu</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19484764"/>
                  </a:ext>
                </a:extLst>
              </a:tr>
              <a:tr h="0">
                <a:tc>
                  <a:txBody>
                    <a:bodyPr/>
                    <a:lstStyle/>
                    <a:p>
                      <a:pPr marL="0" marR="0">
                        <a:lnSpc>
                          <a:spcPct val="107000"/>
                        </a:lnSpc>
                        <a:spcBef>
                          <a:spcPts val="0"/>
                        </a:spcBef>
                        <a:spcAft>
                          <a:spcPts val="0"/>
                        </a:spcAft>
                      </a:pPr>
                      <a:r>
                        <a:rPr lang="en-US" sz="1600">
                          <a:effectLst/>
                          <a:latin typeface="Book Antiqua" panose="02040602050305030304" pitchFamily="18" charset="0"/>
                          <a:ea typeface="Calibri" panose="020F0502020204030204" pitchFamily="34" charset="0"/>
                          <a:cs typeface="Times New Roman" panose="02020603050405020304" pitchFamily="18" charset="0"/>
                        </a:rPr>
                        <a:t>Initiation and Engagement of Alcohol and Other Drug Dependence Treatmen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a:effectLst/>
                          <a:latin typeface="Book Antiqua" panose="02040602050305030304" pitchFamily="18" charset="0"/>
                          <a:ea typeface="Calibri" panose="020F0502020204030204" pitchFamily="34" charset="0"/>
                          <a:cs typeface="Times New Roman" panose="02020603050405020304" pitchFamily="18" charset="0"/>
                        </a:rPr>
                        <a:t>Menu</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94353142"/>
                  </a:ext>
                </a:extLst>
              </a:tr>
            </a:tbl>
          </a:graphicData>
        </a:graphic>
      </p:graphicFrame>
    </p:spTree>
    <p:extLst>
      <p:ext uri="{BB962C8B-B14F-4D97-AF65-F5344CB8AC3E}">
        <p14:creationId xmlns:p14="http://schemas.microsoft.com/office/powerpoint/2010/main" val="913840089"/>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2788F6-0351-4481-987A-99EDF7F23ADB}"/>
              </a:ext>
            </a:extLst>
          </p:cNvPr>
          <p:cNvSpPr>
            <a:spLocks noGrp="1"/>
          </p:cNvSpPr>
          <p:nvPr>
            <p:ph type="title"/>
          </p:nvPr>
        </p:nvSpPr>
        <p:spPr>
          <a:xfrm>
            <a:off x="736599" y="109538"/>
            <a:ext cx="7582647" cy="762000"/>
          </a:xfrm>
        </p:spPr>
        <p:txBody>
          <a:bodyPr/>
          <a:lstStyle/>
          <a:p>
            <a:r>
              <a:rPr lang="en-US"/>
              <a:t>Revisit including a measure in the Core Set that requires reporting of RELD data</a:t>
            </a:r>
          </a:p>
        </p:txBody>
      </p:sp>
      <p:sp>
        <p:nvSpPr>
          <p:cNvPr id="3" name="Content Placeholder 2">
            <a:extLst>
              <a:ext uri="{FF2B5EF4-FFF2-40B4-BE49-F238E27FC236}">
                <a16:creationId xmlns:a16="http://schemas.microsoft.com/office/drawing/2014/main" id="{F122E5D3-5428-4FD0-BEE7-843B9B49CC20}"/>
              </a:ext>
            </a:extLst>
          </p:cNvPr>
          <p:cNvSpPr>
            <a:spLocks noGrp="1"/>
          </p:cNvSpPr>
          <p:nvPr>
            <p:ph sz="half" idx="1"/>
          </p:nvPr>
        </p:nvSpPr>
        <p:spPr>
          <a:xfrm>
            <a:off x="326794" y="955960"/>
            <a:ext cx="8817206" cy="5376862"/>
          </a:xfrm>
        </p:spPr>
        <p:txBody>
          <a:bodyPr/>
          <a:lstStyle/>
          <a:p>
            <a:pPr marL="0" indent="0">
              <a:buNone/>
            </a:pPr>
            <a:r>
              <a:rPr lang="en-US"/>
              <a:t>What measures (options also listed on the previous slide)?</a:t>
            </a:r>
          </a:p>
          <a:p>
            <a:pPr marL="457200" indent="-457200">
              <a:buFont typeface="+mj-lt"/>
              <a:buAutoNum type="arabicPeriod" startAt="4"/>
            </a:pPr>
            <a:r>
              <a:rPr lang="en-US" b="0"/>
              <a:t>Measures identified by the 2019 DPH-convened developmental work group focused on stratifying measures by subpopulation</a:t>
            </a:r>
          </a:p>
          <a:p>
            <a:pPr lvl="1"/>
            <a:endParaRPr lang="en-US" b="0"/>
          </a:p>
          <a:p>
            <a:pPr marL="0" indent="0">
              <a:buNone/>
            </a:pPr>
            <a:endParaRPr lang="en-US" b="0"/>
          </a:p>
        </p:txBody>
      </p:sp>
      <p:graphicFrame>
        <p:nvGraphicFramePr>
          <p:cNvPr id="7" name="Table 6">
            <a:extLst>
              <a:ext uri="{FF2B5EF4-FFF2-40B4-BE49-F238E27FC236}">
                <a16:creationId xmlns:a16="http://schemas.microsoft.com/office/drawing/2014/main" id="{3C4736C9-A0B0-4259-8355-A3BDBE51DB35}"/>
              </a:ext>
            </a:extLst>
          </p:cNvPr>
          <p:cNvGraphicFramePr>
            <a:graphicFrameLocks noGrp="1"/>
          </p:cNvGraphicFramePr>
          <p:nvPr>
            <p:extLst>
              <p:ext uri="{D42A27DB-BD31-4B8C-83A1-F6EECF244321}">
                <p14:modId xmlns:p14="http://schemas.microsoft.com/office/powerpoint/2010/main" val="25452491"/>
              </p:ext>
            </p:extLst>
          </p:nvPr>
        </p:nvGraphicFramePr>
        <p:xfrm>
          <a:off x="271374" y="2096082"/>
          <a:ext cx="8768219" cy="4579623"/>
        </p:xfrm>
        <a:graphic>
          <a:graphicData uri="http://schemas.openxmlformats.org/drawingml/2006/table">
            <a:tbl>
              <a:tblPr firstRow="1" firstCol="1" bandRow="1"/>
              <a:tblGrid>
                <a:gridCol w="2780778">
                  <a:extLst>
                    <a:ext uri="{9D8B030D-6E8A-4147-A177-3AD203B41FA5}">
                      <a16:colId xmlns:a16="http://schemas.microsoft.com/office/drawing/2014/main" val="3140732611"/>
                    </a:ext>
                  </a:extLst>
                </a:gridCol>
                <a:gridCol w="1152394">
                  <a:extLst>
                    <a:ext uri="{9D8B030D-6E8A-4147-A177-3AD203B41FA5}">
                      <a16:colId xmlns:a16="http://schemas.microsoft.com/office/drawing/2014/main" val="2282612117"/>
                    </a:ext>
                  </a:extLst>
                </a:gridCol>
                <a:gridCol w="4835047">
                  <a:extLst>
                    <a:ext uri="{9D8B030D-6E8A-4147-A177-3AD203B41FA5}">
                      <a16:colId xmlns:a16="http://schemas.microsoft.com/office/drawing/2014/main" val="3178733664"/>
                    </a:ext>
                  </a:extLst>
                </a:gridCol>
              </a:tblGrid>
              <a:tr h="135709">
                <a:tc>
                  <a:txBody>
                    <a:bodyPr/>
                    <a:lstStyle/>
                    <a:p>
                      <a:pPr marL="0" marR="0">
                        <a:lnSpc>
                          <a:spcPct val="107000"/>
                        </a:lnSpc>
                        <a:spcBef>
                          <a:spcPts val="0"/>
                        </a:spcBef>
                        <a:spcAft>
                          <a:spcPts val="0"/>
                        </a:spcAft>
                      </a:pPr>
                      <a:r>
                        <a:rPr lang="en-US" sz="1500" b="1">
                          <a:effectLst/>
                          <a:latin typeface="Book Antiqua" panose="02040602050305030304" pitchFamily="18" charset="0"/>
                          <a:ea typeface="Calibri" panose="020F0502020204030204" pitchFamily="34" charset="0"/>
                          <a:cs typeface="Times New Roman" panose="02020603050405020304" pitchFamily="18" charset="0"/>
                        </a:rPr>
                        <a:t>Measure</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tc>
                  <a:txBody>
                    <a:bodyPr/>
                    <a:lstStyle/>
                    <a:p>
                      <a:pPr marL="0" marR="0">
                        <a:lnSpc>
                          <a:spcPct val="107000"/>
                        </a:lnSpc>
                        <a:spcBef>
                          <a:spcPts val="0"/>
                        </a:spcBef>
                        <a:spcAft>
                          <a:spcPts val="0"/>
                        </a:spcAft>
                      </a:pPr>
                      <a:r>
                        <a:rPr lang="en-US" sz="1500" b="1">
                          <a:solidFill>
                            <a:srgbClr val="000000"/>
                          </a:solidFill>
                          <a:effectLst/>
                          <a:latin typeface="Book Antiqua" panose="02040602050305030304" pitchFamily="18" charset="0"/>
                          <a:ea typeface="Calibri" panose="020F0502020204030204" pitchFamily="34" charset="0"/>
                          <a:cs typeface="Times New Roman" panose="02020603050405020304" pitchFamily="18" charset="0"/>
                        </a:rPr>
                        <a:t>Set</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tc>
                  <a:txBody>
                    <a:bodyPr/>
                    <a:lstStyle/>
                    <a:p>
                      <a:pPr marL="0" marR="0">
                        <a:lnSpc>
                          <a:spcPct val="107000"/>
                        </a:lnSpc>
                        <a:spcBef>
                          <a:spcPts val="0"/>
                        </a:spcBef>
                        <a:spcAft>
                          <a:spcPts val="0"/>
                        </a:spcAft>
                      </a:pPr>
                      <a:r>
                        <a:rPr lang="en-US" sz="1500" b="1">
                          <a:solidFill>
                            <a:srgbClr val="000000"/>
                          </a:solidFill>
                          <a:effectLst/>
                          <a:latin typeface="Book Antiqua" panose="02040602050305030304" pitchFamily="18" charset="0"/>
                          <a:ea typeface="Calibri" panose="020F0502020204030204" pitchFamily="34" charset="0"/>
                          <a:cs typeface="Times New Roman" panose="02020603050405020304" pitchFamily="18" charset="0"/>
                        </a:rPr>
                        <a:t>Rationale as Identified by Work Group</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extLst>
                  <a:ext uri="{0D108BD9-81ED-4DB2-BD59-A6C34878D82A}">
                    <a16:rowId xmlns:a16="http://schemas.microsoft.com/office/drawing/2014/main" val="1838482667"/>
                  </a:ext>
                </a:extLst>
              </a:tr>
              <a:tr h="0">
                <a:tc>
                  <a:txBody>
                    <a:bodyPr/>
                    <a:lstStyle/>
                    <a:p>
                      <a:pPr marL="0" marR="0">
                        <a:lnSpc>
                          <a:spcPct val="107000"/>
                        </a:lnSpc>
                        <a:spcBef>
                          <a:spcPts val="0"/>
                        </a:spcBef>
                        <a:spcAft>
                          <a:spcPts val="0"/>
                        </a:spcAft>
                      </a:pPr>
                      <a:r>
                        <a:rPr lang="en-US" sz="1500">
                          <a:effectLst/>
                          <a:latin typeface="Book Antiqua" panose="02040602050305030304" pitchFamily="18" charset="0"/>
                          <a:ea typeface="Calibri" panose="020F0502020204030204" pitchFamily="34" charset="0"/>
                          <a:cs typeface="Times New Roman" panose="02020603050405020304" pitchFamily="18" charset="0"/>
                        </a:rPr>
                        <a:t>Controlling High Blood Pressure</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500">
                          <a:effectLst/>
                          <a:latin typeface="Book Antiqua" panose="02040602050305030304" pitchFamily="18" charset="0"/>
                          <a:ea typeface="Calibri" panose="020F0502020204030204" pitchFamily="34" charset="0"/>
                          <a:cs typeface="Times New Roman" panose="02020603050405020304" pitchFamily="18" charset="0"/>
                        </a:rPr>
                        <a:t>Core</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500">
                          <a:effectLst/>
                          <a:latin typeface="Book Antiqua" panose="02040602050305030304" pitchFamily="18" charset="0"/>
                          <a:ea typeface="Calibri" panose="020F0502020204030204" pitchFamily="34" charset="0"/>
                          <a:cs typeface="Times New Roman" panose="02020603050405020304" pitchFamily="18" charset="0"/>
                        </a:rPr>
                        <a:t>Core measure with known inequities (higher prevalence among Blacks when compared to whites) and a large impact on health</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05656189"/>
                  </a:ext>
                </a:extLst>
              </a:tr>
              <a:tr h="0">
                <a:tc>
                  <a:txBody>
                    <a:bodyPr/>
                    <a:lstStyle/>
                    <a:p>
                      <a:pPr marL="0" marR="0">
                        <a:lnSpc>
                          <a:spcPct val="107000"/>
                        </a:lnSpc>
                        <a:spcBef>
                          <a:spcPts val="0"/>
                        </a:spcBef>
                        <a:spcAft>
                          <a:spcPts val="0"/>
                        </a:spcAft>
                      </a:pPr>
                      <a:r>
                        <a:rPr lang="en-US" sz="1500">
                          <a:effectLst/>
                          <a:latin typeface="Book Antiqua" panose="02040602050305030304" pitchFamily="18" charset="0"/>
                          <a:ea typeface="Calibri" panose="020F0502020204030204" pitchFamily="34" charset="0"/>
                          <a:cs typeface="Times New Roman" panose="02020603050405020304" pitchFamily="18" charset="0"/>
                        </a:rPr>
                        <a:t>Comprehensive Diabetes Care: HbA1c Poor Control</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500">
                          <a:effectLst/>
                          <a:latin typeface="Book Antiqua" panose="02040602050305030304" pitchFamily="18" charset="0"/>
                          <a:ea typeface="Calibri" panose="020F0502020204030204" pitchFamily="34" charset="0"/>
                          <a:cs typeface="Times New Roman" panose="02020603050405020304" pitchFamily="18" charset="0"/>
                        </a:rPr>
                        <a:t>Core</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500">
                          <a:effectLst/>
                          <a:latin typeface="Book Antiqua" panose="02040602050305030304" pitchFamily="18" charset="0"/>
                          <a:ea typeface="Calibri" panose="020F0502020204030204" pitchFamily="34" charset="0"/>
                          <a:cs typeface="Times New Roman" panose="02020603050405020304" pitchFamily="18" charset="0"/>
                        </a:rPr>
                        <a:t>Core measure with known inequities (higher prevalence among Black and Hispanic adults when compared to white adults) and a large impact on health</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19484764"/>
                  </a:ext>
                </a:extLst>
              </a:tr>
              <a:tr h="0">
                <a:tc>
                  <a:txBody>
                    <a:bodyPr/>
                    <a:lstStyle/>
                    <a:p>
                      <a:pPr marL="0" marR="0">
                        <a:lnSpc>
                          <a:spcPct val="107000"/>
                        </a:lnSpc>
                        <a:spcBef>
                          <a:spcPts val="0"/>
                        </a:spcBef>
                        <a:spcAft>
                          <a:spcPts val="0"/>
                        </a:spcAft>
                      </a:pPr>
                      <a:r>
                        <a:rPr lang="en-US" sz="1500">
                          <a:effectLst/>
                          <a:latin typeface="Book Antiqua" panose="02040602050305030304" pitchFamily="18" charset="0"/>
                          <a:ea typeface="Calibri" panose="020F0502020204030204" pitchFamily="34" charset="0"/>
                          <a:cs typeface="Times New Roman" panose="02020603050405020304" pitchFamily="18" charset="0"/>
                        </a:rPr>
                        <a:t>Screening for Clinical Depression and Follow-up Plan</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500">
                          <a:effectLst/>
                          <a:latin typeface="Book Antiqua" panose="02040602050305030304" pitchFamily="18" charset="0"/>
                          <a:ea typeface="Calibri" panose="020F0502020204030204" pitchFamily="34" charset="0"/>
                          <a:cs typeface="Times New Roman" panose="02020603050405020304" pitchFamily="18" charset="0"/>
                        </a:rPr>
                        <a:t>Core</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500">
                          <a:effectLst/>
                          <a:latin typeface="Book Antiqua" panose="02040602050305030304" pitchFamily="18" charset="0"/>
                          <a:ea typeface="Calibri" panose="020F0502020204030204" pitchFamily="34" charset="0"/>
                          <a:cs typeface="Times New Roman" panose="02020603050405020304" pitchFamily="18" charset="0"/>
                        </a:rPr>
                        <a:t>Core measure that all respondents reported being able to stratify</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06246854"/>
                  </a:ext>
                </a:extLst>
              </a:tr>
              <a:tr h="0">
                <a:tc>
                  <a:txBody>
                    <a:bodyPr/>
                    <a:lstStyle/>
                    <a:p>
                      <a:pPr marL="0" marR="0">
                        <a:lnSpc>
                          <a:spcPct val="107000"/>
                        </a:lnSpc>
                        <a:spcBef>
                          <a:spcPts val="0"/>
                        </a:spcBef>
                        <a:spcAft>
                          <a:spcPts val="0"/>
                        </a:spcAft>
                      </a:pPr>
                      <a:r>
                        <a:rPr lang="en-US" sz="1500">
                          <a:effectLst/>
                          <a:latin typeface="Book Antiqua" panose="02040602050305030304" pitchFamily="18" charset="0"/>
                          <a:ea typeface="Calibri" panose="020F0502020204030204" pitchFamily="34" charset="0"/>
                          <a:cs typeface="Times New Roman" panose="02020603050405020304" pitchFamily="18" charset="0"/>
                        </a:rPr>
                        <a:t>Chlamydia Screening</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500">
                          <a:effectLst/>
                          <a:latin typeface="Book Antiqua" panose="02040602050305030304" pitchFamily="18" charset="0"/>
                          <a:ea typeface="Calibri" panose="020F0502020204030204" pitchFamily="34" charset="0"/>
                          <a:cs typeface="Times New Roman" panose="02020603050405020304" pitchFamily="18" charset="0"/>
                        </a:rPr>
                        <a:t>Menu</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500">
                          <a:effectLst/>
                          <a:latin typeface="Book Antiqua" panose="02040602050305030304" pitchFamily="18" charset="0"/>
                          <a:ea typeface="Calibri" panose="020F0502020204030204" pitchFamily="34" charset="0"/>
                          <a:cs typeface="Times New Roman" panose="02020603050405020304" pitchFamily="18" charset="0"/>
                        </a:rPr>
                        <a:t>Participants wanted to include a screening measure for which data were available in the EMR</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23525338"/>
                  </a:ext>
                </a:extLst>
              </a:tr>
              <a:tr h="0">
                <a:tc>
                  <a:txBody>
                    <a:bodyPr/>
                    <a:lstStyle/>
                    <a:p>
                      <a:pPr marL="0" marR="0">
                        <a:lnSpc>
                          <a:spcPct val="107000"/>
                        </a:lnSpc>
                        <a:spcBef>
                          <a:spcPts val="0"/>
                        </a:spcBef>
                        <a:spcAft>
                          <a:spcPts val="0"/>
                        </a:spcAft>
                      </a:pPr>
                      <a:r>
                        <a:rPr lang="en-US" sz="1500">
                          <a:effectLst/>
                          <a:latin typeface="Book Antiqua" panose="02040602050305030304" pitchFamily="18" charset="0"/>
                          <a:ea typeface="Calibri" panose="020F0502020204030204" pitchFamily="34" charset="0"/>
                          <a:cs typeface="Times New Roman" panose="02020603050405020304" pitchFamily="18" charset="0"/>
                        </a:rPr>
                        <a:t>Prenatal &amp; Postpartum Care – Timeliness of Prenatal Care</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500">
                          <a:effectLst/>
                          <a:latin typeface="Book Antiqua" panose="02040602050305030304" pitchFamily="18" charset="0"/>
                          <a:ea typeface="Calibri" panose="020F0502020204030204" pitchFamily="34" charset="0"/>
                          <a:cs typeface="Times New Roman" panose="02020603050405020304" pitchFamily="18" charset="0"/>
                        </a:rPr>
                        <a:t>Monitoring</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500">
                          <a:effectLst/>
                          <a:latin typeface="Book Antiqua" panose="02040602050305030304" pitchFamily="18" charset="0"/>
                          <a:ea typeface="Calibri" panose="020F0502020204030204" pitchFamily="34" charset="0"/>
                          <a:cs typeface="Times New Roman" panose="02020603050405020304" pitchFamily="18" charset="0"/>
                        </a:rPr>
                        <a:t>Participants wanted to include a maternity measure; most providers reported being able to stratify this measure</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8264345"/>
                  </a:ext>
                </a:extLst>
              </a:tr>
              <a:tr h="0">
                <a:tc>
                  <a:txBody>
                    <a:bodyPr/>
                    <a:lstStyle/>
                    <a:p>
                      <a:pPr marL="0" marR="0">
                        <a:lnSpc>
                          <a:spcPct val="107000"/>
                        </a:lnSpc>
                        <a:spcBef>
                          <a:spcPts val="0"/>
                        </a:spcBef>
                        <a:spcAft>
                          <a:spcPts val="0"/>
                        </a:spcAft>
                      </a:pPr>
                      <a:r>
                        <a:rPr lang="en-US" sz="1500">
                          <a:effectLst/>
                          <a:latin typeface="Book Antiqua" panose="02040602050305030304" pitchFamily="18" charset="0"/>
                          <a:ea typeface="Calibri" panose="020F0502020204030204" pitchFamily="34" charset="0"/>
                          <a:cs typeface="Times New Roman" panose="02020603050405020304" pitchFamily="18" charset="0"/>
                        </a:rPr>
                        <a:t>Well-Child Visits in the First 30 Months of Life and Child and Adolescent Well-Care Visit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500">
                          <a:effectLst/>
                          <a:latin typeface="Book Antiqua" panose="02040602050305030304" pitchFamily="18" charset="0"/>
                          <a:ea typeface="Calibri" panose="020F0502020204030204" pitchFamily="34" charset="0"/>
                          <a:cs typeface="Times New Roman" panose="02020603050405020304" pitchFamily="18" charset="0"/>
                        </a:rPr>
                        <a:t>Monitoring</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500">
                          <a:effectLst/>
                          <a:latin typeface="Book Antiqua" panose="02040602050305030304" pitchFamily="18" charset="0"/>
                          <a:ea typeface="Calibri" panose="020F0502020204030204" pitchFamily="34" charset="0"/>
                          <a:cs typeface="Times New Roman" panose="02020603050405020304" pitchFamily="18" charset="0"/>
                        </a:rPr>
                        <a:t>Clinical data are available for well-care visits; prioritized collection order based on participant preferences, which were noted to be in alignment with Title 5 state priorities</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69623085"/>
                  </a:ext>
                </a:extLst>
              </a:tr>
            </a:tbl>
          </a:graphicData>
        </a:graphic>
      </p:graphicFrame>
    </p:spTree>
    <p:extLst>
      <p:ext uri="{BB962C8B-B14F-4D97-AF65-F5344CB8AC3E}">
        <p14:creationId xmlns:p14="http://schemas.microsoft.com/office/powerpoint/2010/main" val="836771716"/>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84CE18-EAA3-4DC4-9E6E-27FB963B1316}"/>
              </a:ext>
            </a:extLst>
          </p:cNvPr>
          <p:cNvSpPr>
            <a:spLocks noGrp="1"/>
          </p:cNvSpPr>
          <p:nvPr>
            <p:ph type="title"/>
          </p:nvPr>
        </p:nvSpPr>
        <p:spPr/>
        <p:txBody>
          <a:bodyPr/>
          <a:lstStyle/>
          <a:p>
            <a:r>
              <a:rPr lang="en-US"/>
              <a:t>DDS and DMH inclusion in RELD data standardization efforts</a:t>
            </a:r>
          </a:p>
        </p:txBody>
      </p:sp>
      <p:sp>
        <p:nvSpPr>
          <p:cNvPr id="3" name="Content Placeholder 2">
            <a:extLst>
              <a:ext uri="{FF2B5EF4-FFF2-40B4-BE49-F238E27FC236}">
                <a16:creationId xmlns:a16="http://schemas.microsoft.com/office/drawing/2014/main" id="{C1BCA869-A43A-401D-ADC1-170551BC7D38}"/>
              </a:ext>
            </a:extLst>
          </p:cNvPr>
          <p:cNvSpPr>
            <a:spLocks noGrp="1"/>
          </p:cNvSpPr>
          <p:nvPr>
            <p:ph sz="half" idx="1"/>
          </p:nvPr>
        </p:nvSpPr>
        <p:spPr/>
        <p:txBody>
          <a:bodyPr/>
          <a:lstStyle/>
          <a:p>
            <a:r>
              <a:rPr lang="en-US" b="0"/>
              <a:t>During our October 21</a:t>
            </a:r>
            <a:r>
              <a:rPr lang="en-US" b="0" baseline="30000"/>
              <a:t>st</a:t>
            </a:r>
            <a:r>
              <a:rPr lang="en-US" b="0"/>
              <a:t> health equity discussion, a Taskforce member recommended </a:t>
            </a:r>
            <a:r>
              <a:rPr lang="en-US" b="0">
                <a:effectLst/>
              </a:rPr>
              <a:t>that EOHHS agencies be consistent in their definitions of RELD data and have a rationalized approach to collection in support of data exchange and stratified performance measurement.  He believed it essential for there to be alignment across agencies, including DDS, DMH, and DPH.  </a:t>
            </a:r>
          </a:p>
          <a:p>
            <a:r>
              <a:rPr lang="en-US" b="0"/>
              <a:t>EOHHS will bring this question to an EOHHS</a:t>
            </a:r>
            <a:r>
              <a:rPr lang="en-US" b="0">
                <a:effectLst/>
              </a:rPr>
              <a:t> interagency work group to assess whether there is an opportunity to more consistently define and collect RELD data across agencies and programs.</a:t>
            </a:r>
          </a:p>
          <a:p>
            <a:pPr marL="0" indent="0">
              <a:buNone/>
            </a:pPr>
            <a:endParaRPr lang="en-US" b="0"/>
          </a:p>
        </p:txBody>
      </p:sp>
    </p:spTree>
    <p:extLst>
      <p:ext uri="{BB962C8B-B14F-4D97-AF65-F5344CB8AC3E}">
        <p14:creationId xmlns:p14="http://schemas.microsoft.com/office/powerpoint/2010/main" val="3130701180"/>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2788F6-0351-4481-987A-99EDF7F23ADB}"/>
              </a:ext>
            </a:extLst>
          </p:cNvPr>
          <p:cNvSpPr>
            <a:spLocks noGrp="1"/>
          </p:cNvSpPr>
          <p:nvPr>
            <p:ph type="title"/>
          </p:nvPr>
        </p:nvSpPr>
        <p:spPr>
          <a:xfrm>
            <a:off x="736599" y="109538"/>
            <a:ext cx="7582647" cy="762000"/>
          </a:xfrm>
        </p:spPr>
        <p:txBody>
          <a:bodyPr/>
          <a:lstStyle/>
          <a:p>
            <a:r>
              <a:rPr lang="en-US"/>
              <a:t>Revisit including a measure in the Core Set that requires reporting of RELD data</a:t>
            </a:r>
          </a:p>
        </p:txBody>
      </p:sp>
      <p:sp>
        <p:nvSpPr>
          <p:cNvPr id="3" name="Content Placeholder 2">
            <a:extLst>
              <a:ext uri="{FF2B5EF4-FFF2-40B4-BE49-F238E27FC236}">
                <a16:creationId xmlns:a16="http://schemas.microsoft.com/office/drawing/2014/main" id="{F122E5D3-5428-4FD0-BEE7-843B9B49CC20}"/>
              </a:ext>
            </a:extLst>
          </p:cNvPr>
          <p:cNvSpPr>
            <a:spLocks noGrp="1"/>
          </p:cNvSpPr>
          <p:nvPr>
            <p:ph sz="half" idx="1"/>
          </p:nvPr>
        </p:nvSpPr>
        <p:spPr>
          <a:xfrm>
            <a:off x="533400" y="1371600"/>
            <a:ext cx="8077200" cy="5376862"/>
          </a:xfrm>
        </p:spPr>
        <p:txBody>
          <a:bodyPr/>
          <a:lstStyle/>
          <a:p>
            <a:pPr marL="0" indent="0">
              <a:buNone/>
            </a:pPr>
            <a:r>
              <a:rPr lang="en-US"/>
              <a:t>What is the specified format?</a:t>
            </a:r>
          </a:p>
          <a:p>
            <a:r>
              <a:rPr lang="en-US" b="0"/>
              <a:t>Allow each ACO to report by race, ethnicity, language and/or disability status (as applicable) in whatever fashion it chooses.</a:t>
            </a:r>
          </a:p>
          <a:p>
            <a:r>
              <a:rPr lang="en-US" b="0"/>
              <a:t>Specify reporting by high-level categories where commonality of approach is largely achievable.</a:t>
            </a:r>
          </a:p>
          <a:p>
            <a:pPr marL="0" indent="0">
              <a:buNone/>
            </a:pPr>
            <a:endParaRPr lang="en-US" b="0"/>
          </a:p>
        </p:txBody>
      </p:sp>
    </p:spTree>
    <p:extLst>
      <p:ext uri="{BB962C8B-B14F-4D97-AF65-F5344CB8AC3E}">
        <p14:creationId xmlns:p14="http://schemas.microsoft.com/office/powerpoint/2010/main" val="1058099442"/>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33400" y="1371600"/>
            <a:ext cx="8469923" cy="4556234"/>
          </a:xfrm>
        </p:spPr>
        <p:txBody>
          <a:bodyPr/>
          <a:lstStyle/>
          <a:p>
            <a:pPr marL="457200" indent="-457200">
              <a:buFont typeface="+mj-lt"/>
              <a:buAutoNum type="arabicPeriod"/>
            </a:pPr>
            <a:r>
              <a:rPr lang="en-US" sz="2200">
                <a:ea typeface="Times New Roman" panose="02020603050405020304" pitchFamily="18" charset="0"/>
                <a:cs typeface="Times New Roman" panose="02020603050405020304" pitchFamily="18" charset="0"/>
              </a:rPr>
              <a:t>Welcome</a:t>
            </a:r>
          </a:p>
          <a:p>
            <a:pPr marL="457200" indent="-457200">
              <a:buFont typeface="+mj-lt"/>
              <a:buAutoNum type="arabicPeriod"/>
            </a:pPr>
            <a:r>
              <a:rPr lang="en-US" sz="2200">
                <a:cs typeface="Times New Roman" panose="02020603050405020304" pitchFamily="18" charset="0"/>
              </a:rPr>
              <a:t>Follow-up items from October</a:t>
            </a:r>
          </a:p>
          <a:p>
            <a:pPr marL="457200" indent="-457200">
              <a:buFont typeface="+mj-lt"/>
              <a:buAutoNum type="arabicPeriod"/>
            </a:pPr>
            <a:r>
              <a:rPr lang="en-US" sz="2200">
                <a:cs typeface="Times New Roman" panose="02020603050405020304" pitchFamily="18" charset="0"/>
              </a:rPr>
              <a:t>Review non-measure specific public comments from 2021 annual review</a:t>
            </a:r>
          </a:p>
          <a:p>
            <a:pPr marL="457200" indent="-457200">
              <a:buFont typeface="+mj-lt"/>
              <a:buAutoNum type="arabicPeriod"/>
            </a:pPr>
            <a:r>
              <a:rPr lang="en-US" sz="2200">
                <a:cs typeface="Times New Roman" panose="02020603050405020304" pitchFamily="18" charset="0"/>
              </a:rPr>
              <a:t>Annual review process</a:t>
            </a:r>
          </a:p>
          <a:p>
            <a:pPr marL="457200" indent="-457200">
              <a:buFont typeface="+mj-lt"/>
              <a:buAutoNum type="arabicPeriod"/>
            </a:pPr>
            <a:r>
              <a:rPr lang="en-US" sz="2200">
                <a:cs typeface="Times New Roman" panose="02020603050405020304" pitchFamily="18" charset="0"/>
              </a:rPr>
              <a:t>Substance use disorder measures scan</a:t>
            </a:r>
          </a:p>
          <a:p>
            <a:pPr marL="457200" indent="-457200">
              <a:buFont typeface="+mj-lt"/>
              <a:buAutoNum type="arabicPeriod"/>
            </a:pPr>
            <a:r>
              <a:rPr lang="en-US" sz="2200">
                <a:latin typeface="Book Antiqua" panose="02040602050305030304" pitchFamily="18" charset="0"/>
              </a:rPr>
              <a:t>Revisit inclusion of a measure in the Core Set that requires reporting of RELD data</a:t>
            </a:r>
            <a:endParaRPr lang="en-US" sz="2200">
              <a:cs typeface="Times New Roman" panose="02020603050405020304" pitchFamily="18" charset="0"/>
            </a:endParaRPr>
          </a:p>
          <a:p>
            <a:pPr marL="457200" indent="-457200">
              <a:buFont typeface="+mj-lt"/>
              <a:buAutoNum type="arabicPeriod"/>
            </a:pPr>
            <a:r>
              <a:rPr lang="en-US" sz="2200">
                <a:cs typeface="Times New Roman" panose="02020603050405020304" pitchFamily="18" charset="0"/>
              </a:rPr>
              <a:t>Next steps</a:t>
            </a:r>
            <a:endParaRPr lang="en-US" sz="2200"/>
          </a:p>
        </p:txBody>
      </p:sp>
      <p:sp>
        <p:nvSpPr>
          <p:cNvPr id="5" name="Rectangle 4">
            <a:extLst>
              <a:ext uri="{FF2B5EF4-FFF2-40B4-BE49-F238E27FC236}">
                <a16:creationId xmlns:a16="http://schemas.microsoft.com/office/drawing/2014/main" id="{D3915D3D-656E-48AA-8D63-358A7E5AA453}"/>
              </a:ext>
            </a:extLst>
          </p:cNvPr>
          <p:cNvSpPr/>
          <p:nvPr/>
        </p:nvSpPr>
        <p:spPr>
          <a:xfrm>
            <a:off x="0" y="4900604"/>
            <a:ext cx="9144000" cy="647634"/>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92463776"/>
      </p:ext>
    </p:ext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D77C2-F836-4F58-809A-223B58877900}"/>
              </a:ext>
            </a:extLst>
          </p:cNvPr>
          <p:cNvSpPr>
            <a:spLocks noGrp="1"/>
          </p:cNvSpPr>
          <p:nvPr>
            <p:ph type="title"/>
          </p:nvPr>
        </p:nvSpPr>
        <p:spPr/>
        <p:txBody>
          <a:bodyPr/>
          <a:lstStyle/>
          <a:p>
            <a:r>
              <a:rPr lang="en-US"/>
              <a:t>Meeting 41</a:t>
            </a:r>
          </a:p>
        </p:txBody>
      </p:sp>
      <p:sp>
        <p:nvSpPr>
          <p:cNvPr id="3" name="Content Placeholder 2">
            <a:extLst>
              <a:ext uri="{FF2B5EF4-FFF2-40B4-BE49-F238E27FC236}">
                <a16:creationId xmlns:a16="http://schemas.microsoft.com/office/drawing/2014/main" id="{23982B12-54F3-4BA6-BB25-2E0F88B305AC}"/>
              </a:ext>
            </a:extLst>
          </p:cNvPr>
          <p:cNvSpPr>
            <a:spLocks noGrp="1"/>
          </p:cNvSpPr>
          <p:nvPr>
            <p:ph sz="half" idx="1"/>
          </p:nvPr>
        </p:nvSpPr>
        <p:spPr/>
        <p:txBody>
          <a:bodyPr/>
          <a:lstStyle/>
          <a:p>
            <a:r>
              <a:rPr lang="en-US" sz="2200"/>
              <a:t>Annual Review Topics:</a:t>
            </a:r>
          </a:p>
          <a:p>
            <a:pPr lvl="1"/>
            <a:r>
              <a:rPr lang="en-US" sz="2200" b="0">
                <a:effectLst/>
                <a:latin typeface="Book Antiqua" panose="02040602050305030304" pitchFamily="18" charset="0"/>
                <a:ea typeface="Times New Roman" panose="02020603050405020304" pitchFamily="18" charset="0"/>
                <a:cs typeface="Times New Roman" panose="02020603050405020304" pitchFamily="18" charset="0"/>
              </a:rPr>
              <a:t>Review the 2021 Aligned Measure Set to consider recommended changes for 2022 (considering contract use, specification changes, performance, and opportunities to promote health equity)</a:t>
            </a:r>
          </a:p>
          <a:p>
            <a:pPr lvl="1"/>
            <a:r>
              <a:rPr lang="en-US" sz="2200" b="0">
                <a:effectLst/>
                <a:latin typeface="Book Antiqua" panose="02040602050305030304" pitchFamily="18" charset="0"/>
                <a:ea typeface="Times New Roman" panose="02020603050405020304" pitchFamily="18" charset="0"/>
                <a:cs typeface="Times New Roman" panose="02020603050405020304" pitchFamily="18" charset="0"/>
              </a:rPr>
              <a:t>Care coordination measures</a:t>
            </a:r>
          </a:p>
          <a:p>
            <a:pPr lvl="1"/>
            <a:r>
              <a:rPr lang="en-US" sz="2200" b="0">
                <a:ea typeface="Times New Roman" panose="02020603050405020304" pitchFamily="18" charset="0"/>
                <a:cs typeface="Times New Roman" panose="02020603050405020304" pitchFamily="18" charset="0"/>
              </a:rPr>
              <a:t>Measures recommended by organizations that submitted public comment</a:t>
            </a:r>
          </a:p>
          <a:p>
            <a:pPr lvl="1"/>
            <a:endParaRPr lang="en-US"/>
          </a:p>
        </p:txBody>
      </p:sp>
    </p:spTree>
    <p:extLst>
      <p:ext uri="{BB962C8B-B14F-4D97-AF65-F5344CB8AC3E}">
        <p14:creationId xmlns:p14="http://schemas.microsoft.com/office/powerpoint/2010/main" val="994760883"/>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17678C-B75D-47BC-AC31-18B51C4F49E7}"/>
              </a:ext>
            </a:extLst>
          </p:cNvPr>
          <p:cNvSpPr>
            <a:spLocks noGrp="1"/>
          </p:cNvSpPr>
          <p:nvPr>
            <p:ph type="title"/>
          </p:nvPr>
        </p:nvSpPr>
        <p:spPr/>
        <p:txBody>
          <a:bodyPr/>
          <a:lstStyle/>
          <a:p>
            <a:r>
              <a:rPr lang="en-US"/>
              <a:t>Implementation Parameters and Quality Measure Catalogue</a:t>
            </a:r>
          </a:p>
        </p:txBody>
      </p:sp>
      <p:sp>
        <p:nvSpPr>
          <p:cNvPr id="3" name="Content Placeholder 2">
            <a:extLst>
              <a:ext uri="{FF2B5EF4-FFF2-40B4-BE49-F238E27FC236}">
                <a16:creationId xmlns:a16="http://schemas.microsoft.com/office/drawing/2014/main" id="{BBC4C649-1D4D-42B8-BB13-1BA282870526}"/>
              </a:ext>
            </a:extLst>
          </p:cNvPr>
          <p:cNvSpPr>
            <a:spLocks noGrp="1"/>
          </p:cNvSpPr>
          <p:nvPr>
            <p:ph sz="half" idx="1"/>
          </p:nvPr>
        </p:nvSpPr>
        <p:spPr>
          <a:xfrm>
            <a:off x="533400" y="1371600"/>
            <a:ext cx="8077200" cy="5208814"/>
          </a:xfrm>
        </p:spPr>
        <p:txBody>
          <a:bodyPr/>
          <a:lstStyle/>
          <a:p>
            <a:r>
              <a:rPr lang="en-US" b="0"/>
              <a:t>As Undersecretary Peters shared during our October meeting, Secretary </a:t>
            </a:r>
            <a:r>
              <a:rPr lang="en-US" b="0" err="1"/>
              <a:t>Sudders</a:t>
            </a:r>
            <a:r>
              <a:rPr lang="en-US" b="0"/>
              <a:t> has approved the Taskforce’s recommended Aligned Measure Set for 2021.</a:t>
            </a:r>
          </a:p>
          <a:p>
            <a:r>
              <a:rPr lang="en-US" b="0"/>
              <a:t>The Measures and Implementation Parameters went out to all payers and ACOs in the Commonwealth on October 30</a:t>
            </a:r>
            <a:r>
              <a:rPr lang="en-US" b="0" baseline="30000"/>
              <a:t>th</a:t>
            </a:r>
            <a:r>
              <a:rPr lang="en-US" b="0"/>
              <a:t>.</a:t>
            </a:r>
          </a:p>
          <a:p>
            <a:pPr lvl="1"/>
            <a:r>
              <a:rPr lang="en-US" b="0"/>
              <a:t>These documents can also be found on the </a:t>
            </a:r>
            <a:r>
              <a:rPr lang="en-US" b="0">
                <a:solidFill>
                  <a:srgbClr val="0070C0"/>
                </a:solidFill>
                <a:hlinkClick r:id="rId2">
                  <a:extLst>
                    <a:ext uri="{A12FA001-AC4F-418D-AE19-62706E023703}">
                      <ahyp:hlinkClr xmlns:ahyp="http://schemas.microsoft.com/office/drawing/2018/hyperlinkcolor" val="tx"/>
                    </a:ext>
                  </a:extLst>
                </a:hlinkClick>
              </a:rPr>
              <a:t>Taskforce website</a:t>
            </a:r>
            <a:r>
              <a:rPr lang="en-US" b="0"/>
              <a:t>.</a:t>
            </a:r>
          </a:p>
          <a:p>
            <a:r>
              <a:rPr lang="en-US" b="0"/>
              <a:t>The Taskforce also requested that payers complete the Quality Measure Catalogue by November 20</a:t>
            </a:r>
            <a:r>
              <a:rPr lang="en-US" b="0" baseline="30000"/>
              <a:t>th</a:t>
            </a:r>
            <a:r>
              <a:rPr lang="en-US" b="0"/>
              <a:t>. </a:t>
            </a:r>
          </a:p>
          <a:p>
            <a:pPr lvl="1"/>
            <a:r>
              <a:rPr lang="en-US" b="0"/>
              <a:t>The Quality Measure Catalogue asks about the quality measures that payers plan to use in 2021 contracts and is used to track adoption of the Aligned Measure Set.</a:t>
            </a:r>
          </a:p>
          <a:p>
            <a:pPr lvl="1"/>
            <a:r>
              <a:rPr lang="en-US" b="0"/>
              <a:t>This year, the request also included a brief survey asking about the impact that the COVID-19 pandemic has had on payers’ approach to quality measurement.</a:t>
            </a:r>
          </a:p>
          <a:p>
            <a:endParaRPr lang="en-US"/>
          </a:p>
        </p:txBody>
      </p:sp>
    </p:spTree>
    <p:extLst>
      <p:ext uri="{BB962C8B-B14F-4D97-AF65-F5344CB8AC3E}">
        <p14:creationId xmlns:p14="http://schemas.microsoft.com/office/powerpoint/2010/main" val="2520337176"/>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2978E-2012-4078-9A63-D04B19A2891E}"/>
              </a:ext>
            </a:extLst>
          </p:cNvPr>
          <p:cNvSpPr>
            <a:spLocks noGrp="1"/>
          </p:cNvSpPr>
          <p:nvPr>
            <p:ph type="title"/>
          </p:nvPr>
        </p:nvSpPr>
        <p:spPr/>
        <p:txBody>
          <a:bodyPr/>
          <a:lstStyle/>
          <a:p>
            <a:r>
              <a:rPr lang="en-US"/>
              <a:t>Request of the public and Taskforce organizations</a:t>
            </a:r>
          </a:p>
        </p:txBody>
      </p:sp>
      <p:sp>
        <p:nvSpPr>
          <p:cNvPr id="3" name="Content Placeholder 2">
            <a:extLst>
              <a:ext uri="{FF2B5EF4-FFF2-40B4-BE49-F238E27FC236}">
                <a16:creationId xmlns:a16="http://schemas.microsoft.com/office/drawing/2014/main" id="{6F1E2E44-5FF8-46B1-8964-B2D4D2EC3797}"/>
              </a:ext>
            </a:extLst>
          </p:cNvPr>
          <p:cNvSpPr>
            <a:spLocks noGrp="1"/>
          </p:cNvSpPr>
          <p:nvPr>
            <p:ph sz="half" idx="1"/>
          </p:nvPr>
        </p:nvSpPr>
        <p:spPr/>
        <p:txBody>
          <a:bodyPr/>
          <a:lstStyle/>
          <a:p>
            <a:r>
              <a:rPr lang="en-US" b="0"/>
              <a:t>As we shared on October 21</a:t>
            </a:r>
            <a:r>
              <a:rPr lang="en-US" b="0" baseline="30000"/>
              <a:t>st</a:t>
            </a:r>
            <a:r>
              <a:rPr lang="en-US" b="0"/>
              <a:t>, Taskforce staff plan to post a public request for topics for which inequities exist but for which there are no measures within the Aligned Measure Set.</a:t>
            </a:r>
          </a:p>
          <a:p>
            <a:r>
              <a:rPr lang="en-US" b="0"/>
              <a:t>We also shared that Taskforce staff will share a data request with Taskforce member organizations to ask them to share any existing and readily available data on quality performance by race, ethnicity, language, and/or disability status.</a:t>
            </a:r>
          </a:p>
          <a:p>
            <a:pPr lvl="1"/>
            <a:r>
              <a:rPr lang="en-US" b="0"/>
              <a:t>We will review any received data as part of our annual review.</a:t>
            </a:r>
          </a:p>
          <a:p>
            <a:pPr lvl="1"/>
            <a:endParaRPr lang="en-US" b="0"/>
          </a:p>
          <a:p>
            <a:endParaRPr lang="en-US" b="0"/>
          </a:p>
        </p:txBody>
      </p:sp>
    </p:spTree>
    <p:extLst>
      <p:ext uri="{BB962C8B-B14F-4D97-AF65-F5344CB8AC3E}">
        <p14:creationId xmlns:p14="http://schemas.microsoft.com/office/powerpoint/2010/main" val="1280005851"/>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661B4C-0F85-4809-B970-EA20F8A01C26}"/>
              </a:ext>
            </a:extLst>
          </p:cNvPr>
          <p:cNvSpPr>
            <a:spLocks noGrp="1"/>
          </p:cNvSpPr>
          <p:nvPr>
            <p:ph type="title"/>
          </p:nvPr>
        </p:nvSpPr>
        <p:spPr/>
        <p:txBody>
          <a:bodyPr/>
          <a:lstStyle/>
          <a:p>
            <a:r>
              <a:rPr lang="en-US"/>
              <a:t>Operationalizing members’ lived experience</a:t>
            </a:r>
          </a:p>
        </p:txBody>
      </p:sp>
      <p:sp>
        <p:nvSpPr>
          <p:cNvPr id="3" name="Content Placeholder 2">
            <a:extLst>
              <a:ext uri="{FF2B5EF4-FFF2-40B4-BE49-F238E27FC236}">
                <a16:creationId xmlns:a16="http://schemas.microsoft.com/office/drawing/2014/main" id="{F7D7F84C-13E6-42F0-BC96-95044985E332}"/>
              </a:ext>
            </a:extLst>
          </p:cNvPr>
          <p:cNvSpPr>
            <a:spLocks noGrp="1"/>
          </p:cNvSpPr>
          <p:nvPr>
            <p:ph sz="half" idx="1"/>
          </p:nvPr>
        </p:nvSpPr>
        <p:spPr>
          <a:xfrm>
            <a:off x="533400" y="1281955"/>
            <a:ext cx="8077200" cy="4556234"/>
          </a:xfrm>
        </p:spPr>
        <p:txBody>
          <a:bodyPr/>
          <a:lstStyle/>
          <a:p>
            <a:r>
              <a:rPr lang="en-US" b="0"/>
              <a:t>We also requested Taskforce members share any recommendations for how the Taskforce can operationalize members’ lived experience to inform the health equity review.</a:t>
            </a:r>
          </a:p>
          <a:p>
            <a:pPr lvl="1"/>
            <a:r>
              <a:rPr lang="en-US" b="0"/>
              <a:t>We did not receive any feedback on this topic.</a:t>
            </a:r>
          </a:p>
          <a:p>
            <a:endParaRPr lang="en-US" b="0"/>
          </a:p>
          <a:p>
            <a:r>
              <a:rPr lang="en-US" b="0"/>
              <a:t>Today, we are looking for your input on where community members should fit into our health equity review process.</a:t>
            </a:r>
          </a:p>
          <a:p>
            <a:r>
              <a:rPr lang="en-US"/>
              <a:t>What types of questions regarding contemplated measures and measure topics would you recommend we ask community members? </a:t>
            </a:r>
          </a:p>
        </p:txBody>
      </p:sp>
    </p:spTree>
    <p:extLst>
      <p:ext uri="{BB962C8B-B14F-4D97-AF65-F5344CB8AC3E}">
        <p14:creationId xmlns:p14="http://schemas.microsoft.com/office/powerpoint/2010/main" val="106047338"/>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33400" y="1371600"/>
            <a:ext cx="8469923" cy="4556234"/>
          </a:xfrm>
        </p:spPr>
        <p:txBody>
          <a:bodyPr/>
          <a:lstStyle/>
          <a:p>
            <a:pPr marL="457200" indent="-457200">
              <a:buFont typeface="+mj-lt"/>
              <a:buAutoNum type="arabicPeriod"/>
            </a:pPr>
            <a:r>
              <a:rPr lang="en-US" sz="2200">
                <a:ea typeface="Times New Roman" panose="02020603050405020304" pitchFamily="18" charset="0"/>
                <a:cs typeface="Times New Roman" panose="02020603050405020304" pitchFamily="18" charset="0"/>
              </a:rPr>
              <a:t>Welcome</a:t>
            </a:r>
          </a:p>
          <a:p>
            <a:pPr marL="457200" indent="-457200">
              <a:buFont typeface="+mj-lt"/>
              <a:buAutoNum type="arabicPeriod"/>
            </a:pPr>
            <a:r>
              <a:rPr lang="en-US" sz="2200">
                <a:cs typeface="Times New Roman" panose="02020603050405020304" pitchFamily="18" charset="0"/>
              </a:rPr>
              <a:t>Follow-up items from October</a:t>
            </a:r>
          </a:p>
          <a:p>
            <a:pPr marL="457200" indent="-457200">
              <a:buFont typeface="+mj-lt"/>
              <a:buAutoNum type="arabicPeriod"/>
            </a:pPr>
            <a:r>
              <a:rPr lang="en-US" sz="2200">
                <a:cs typeface="Times New Roman" panose="02020603050405020304" pitchFamily="18" charset="0"/>
              </a:rPr>
              <a:t>Review non-measure specific public comments from 2021 annual review</a:t>
            </a:r>
          </a:p>
          <a:p>
            <a:pPr marL="457200" indent="-457200">
              <a:buFont typeface="+mj-lt"/>
              <a:buAutoNum type="arabicPeriod"/>
            </a:pPr>
            <a:r>
              <a:rPr lang="en-US" sz="2200">
                <a:cs typeface="Times New Roman" panose="02020603050405020304" pitchFamily="18" charset="0"/>
              </a:rPr>
              <a:t>Annual review process</a:t>
            </a:r>
          </a:p>
          <a:p>
            <a:pPr marL="457200" indent="-457200">
              <a:buFont typeface="+mj-lt"/>
              <a:buAutoNum type="arabicPeriod"/>
            </a:pPr>
            <a:r>
              <a:rPr lang="en-US" sz="2200">
                <a:cs typeface="Times New Roman" panose="02020603050405020304" pitchFamily="18" charset="0"/>
              </a:rPr>
              <a:t>Substance use disorder measures scan</a:t>
            </a:r>
          </a:p>
          <a:p>
            <a:pPr marL="457200" indent="-457200">
              <a:buFont typeface="+mj-lt"/>
              <a:buAutoNum type="arabicPeriod"/>
            </a:pPr>
            <a:r>
              <a:rPr lang="en-US" sz="2200">
                <a:latin typeface="Book Antiqua" panose="02040602050305030304" pitchFamily="18" charset="0"/>
              </a:rPr>
              <a:t>Revisit inclusion of a measure in the Core Set that requires reporting of RELD data</a:t>
            </a:r>
            <a:endParaRPr lang="en-US" sz="2200">
              <a:cs typeface="Times New Roman" panose="02020603050405020304" pitchFamily="18" charset="0"/>
            </a:endParaRPr>
          </a:p>
          <a:p>
            <a:pPr marL="457200" indent="-457200">
              <a:buFont typeface="+mj-lt"/>
              <a:buAutoNum type="arabicPeriod"/>
            </a:pPr>
            <a:r>
              <a:rPr lang="en-US" sz="2200">
                <a:cs typeface="Times New Roman" panose="02020603050405020304" pitchFamily="18" charset="0"/>
              </a:rPr>
              <a:t>Next steps</a:t>
            </a:r>
            <a:endParaRPr lang="en-US" sz="2200"/>
          </a:p>
        </p:txBody>
      </p:sp>
      <p:sp>
        <p:nvSpPr>
          <p:cNvPr id="5" name="Rectangle 4">
            <a:extLst>
              <a:ext uri="{FF2B5EF4-FFF2-40B4-BE49-F238E27FC236}">
                <a16:creationId xmlns:a16="http://schemas.microsoft.com/office/drawing/2014/main" id="{D3915D3D-656E-48AA-8D63-358A7E5AA453}"/>
              </a:ext>
            </a:extLst>
          </p:cNvPr>
          <p:cNvSpPr/>
          <p:nvPr/>
        </p:nvSpPr>
        <p:spPr>
          <a:xfrm>
            <a:off x="0" y="2444284"/>
            <a:ext cx="9144000" cy="647634"/>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99852487"/>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A0A91-8B41-48FE-A4A4-CA9D55288692}"/>
              </a:ext>
            </a:extLst>
          </p:cNvPr>
          <p:cNvSpPr>
            <a:spLocks noGrp="1"/>
          </p:cNvSpPr>
          <p:nvPr>
            <p:ph type="title"/>
          </p:nvPr>
        </p:nvSpPr>
        <p:spPr/>
        <p:txBody>
          <a:bodyPr/>
          <a:lstStyle/>
          <a:p>
            <a:r>
              <a:rPr lang="en-US" sz="2400">
                <a:cs typeface="Times New Roman" panose="02020603050405020304" pitchFamily="18" charset="0"/>
              </a:rPr>
              <a:t>Review Non-Measure Specific Public Comments</a:t>
            </a:r>
            <a:endParaRPr lang="en-US"/>
          </a:p>
        </p:txBody>
      </p:sp>
      <p:sp>
        <p:nvSpPr>
          <p:cNvPr id="3" name="Content Placeholder 2">
            <a:extLst>
              <a:ext uri="{FF2B5EF4-FFF2-40B4-BE49-F238E27FC236}">
                <a16:creationId xmlns:a16="http://schemas.microsoft.com/office/drawing/2014/main" id="{3DDF3C43-1B02-4850-9B9B-07DB523DC5AA}"/>
              </a:ext>
            </a:extLst>
          </p:cNvPr>
          <p:cNvSpPr>
            <a:spLocks noGrp="1"/>
          </p:cNvSpPr>
          <p:nvPr>
            <p:ph sz="half" idx="1"/>
          </p:nvPr>
        </p:nvSpPr>
        <p:spPr>
          <a:xfrm>
            <a:off x="533400" y="1104314"/>
            <a:ext cx="8077200" cy="5344612"/>
          </a:xfrm>
        </p:spPr>
        <p:txBody>
          <a:bodyPr/>
          <a:lstStyle/>
          <a:p>
            <a:pPr>
              <a:spcAft>
                <a:spcPts val="600"/>
              </a:spcAft>
            </a:pPr>
            <a:r>
              <a:rPr lang="en-US" b="0"/>
              <a:t>As a reminder, Taskforce staff solicited feedback from the public on the Aligned Measure Set through two channels:</a:t>
            </a:r>
          </a:p>
          <a:p>
            <a:pPr lvl="1">
              <a:spcAft>
                <a:spcPts val="0"/>
              </a:spcAft>
            </a:pPr>
            <a:r>
              <a:rPr lang="en-US" b="0"/>
              <a:t>Posting a request for feedback on the Taskforce’s website</a:t>
            </a:r>
          </a:p>
          <a:p>
            <a:pPr lvl="1">
              <a:spcAft>
                <a:spcPts val="1800"/>
              </a:spcAft>
            </a:pPr>
            <a:r>
              <a:rPr lang="en-US" b="0"/>
              <a:t>Emailing stakeholders on January 11</a:t>
            </a:r>
            <a:r>
              <a:rPr lang="en-US" b="0" baseline="30000"/>
              <a:t>th</a:t>
            </a:r>
            <a:r>
              <a:rPr lang="en-US" b="0"/>
              <a:t> requesting their feedback.</a:t>
            </a:r>
          </a:p>
          <a:p>
            <a:pPr>
              <a:spcAft>
                <a:spcPts val="600"/>
              </a:spcAft>
            </a:pPr>
            <a:r>
              <a:rPr lang="en-US" b="0"/>
              <a:t>Taskforce staff received feedback from seven organizations:</a:t>
            </a:r>
          </a:p>
          <a:p>
            <a:pPr lvl="1">
              <a:spcAft>
                <a:spcPts val="0"/>
              </a:spcAft>
            </a:pPr>
            <a:r>
              <a:rPr lang="en-US" b="0"/>
              <a:t>Atrius Health</a:t>
            </a:r>
          </a:p>
          <a:p>
            <a:pPr lvl="1">
              <a:spcAft>
                <a:spcPts val="0"/>
              </a:spcAft>
            </a:pPr>
            <a:r>
              <a:rPr lang="en-US" b="0"/>
              <a:t>Boston Medical Center Health System </a:t>
            </a:r>
          </a:p>
          <a:p>
            <a:pPr lvl="1">
              <a:spcAft>
                <a:spcPts val="0"/>
              </a:spcAft>
            </a:pPr>
            <a:r>
              <a:rPr lang="en-US" b="0"/>
              <a:t>Cambridge Health Alliance </a:t>
            </a:r>
          </a:p>
          <a:p>
            <a:pPr lvl="1">
              <a:spcAft>
                <a:spcPts val="0"/>
              </a:spcAft>
            </a:pPr>
            <a:r>
              <a:rPr lang="en-US" b="0"/>
              <a:t>Massachusetts Health &amp; Hospital Association</a:t>
            </a:r>
          </a:p>
          <a:p>
            <a:pPr lvl="1">
              <a:spcAft>
                <a:spcPts val="0"/>
              </a:spcAft>
            </a:pPr>
            <a:r>
              <a:rPr lang="en-US" b="0"/>
              <a:t>Massachusetts Medical Society </a:t>
            </a:r>
          </a:p>
          <a:p>
            <a:pPr lvl="1">
              <a:spcAft>
                <a:spcPts val="0"/>
              </a:spcAft>
            </a:pPr>
            <a:r>
              <a:rPr lang="en-US" b="0"/>
              <a:t>Mount Auburn Cambridge Independent Practice Association </a:t>
            </a:r>
          </a:p>
          <a:p>
            <a:pPr lvl="1">
              <a:spcAft>
                <a:spcPts val="1800"/>
              </a:spcAft>
            </a:pPr>
            <a:r>
              <a:rPr lang="en-US" b="0"/>
              <a:t>Wellforce</a:t>
            </a:r>
          </a:p>
          <a:p>
            <a:r>
              <a:rPr lang="en-US" b="0"/>
              <a:t>During the June 30</a:t>
            </a:r>
            <a:r>
              <a:rPr lang="en-US" b="0" baseline="30000"/>
              <a:t>th</a:t>
            </a:r>
            <a:r>
              <a:rPr lang="en-US" b="0"/>
              <a:t> Taskforce meeting, Taskforce staff shared Core/Menu measure-specific feedback and committed to sharing all other feedback following the annual review process.</a:t>
            </a:r>
          </a:p>
        </p:txBody>
      </p:sp>
    </p:spTree>
    <p:extLst>
      <p:ext uri="{BB962C8B-B14F-4D97-AF65-F5344CB8AC3E}">
        <p14:creationId xmlns:p14="http://schemas.microsoft.com/office/powerpoint/2010/main" val="51059538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8" end="8"/>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9" end="9"/>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STYLE" val="AcnSubjectTitle"/>
  <p:tag name="DATE" val="8/4/2008 11:33:24 AM"/>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TYLE" val="AcnFootnote"/>
  <p:tag name="DATE" val="8/4/2008 11:33:25 AM"/>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EOHHS">
  <a:themeElements>
    <a:clrScheme name="">
      <a:dk1>
        <a:srgbClr val="000000"/>
      </a:dk1>
      <a:lt1>
        <a:srgbClr val="FFFFFF"/>
      </a:lt1>
      <a:dk2>
        <a:srgbClr val="003366"/>
      </a:dk2>
      <a:lt2>
        <a:srgbClr val="B4B4B4"/>
      </a:lt2>
      <a:accent1>
        <a:srgbClr val="FFFFCC"/>
      </a:accent1>
      <a:accent2>
        <a:srgbClr val="003399"/>
      </a:accent2>
      <a:accent3>
        <a:srgbClr val="FFFFFF"/>
      </a:accent3>
      <a:accent4>
        <a:srgbClr val="000000"/>
      </a:accent4>
      <a:accent5>
        <a:srgbClr val="FFFFE2"/>
      </a:accent5>
      <a:accent6>
        <a:srgbClr val="002D8A"/>
      </a:accent6>
      <a:hlink>
        <a:srgbClr val="CCCCFF"/>
      </a:hlink>
      <a:folHlink>
        <a:srgbClr val="FFFFFF"/>
      </a:folHlink>
    </a:clrScheme>
    <a:fontScheme name="1_Blue Presentation Template - MA HHS - small logo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1_Blue Presentation Template - MA HHS - small logo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 Presentation Template - MA HHS - small logo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 Presentation Template - MA HHS - small logo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 Presentation Template - MA HHS - small logo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 Presentation Template - MA HHS - small logo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 Presentation Template - MA HHS - small logo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 Presentation Template - MA HHS - small logo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3F9B95F2EE52B4E9FB130DEE3F78C09" ma:contentTypeVersion="6" ma:contentTypeDescription="Create a new document." ma:contentTypeScope="" ma:versionID="ca0602ea54f9c51bfa1c05d1f8c9206a">
  <xsd:schema xmlns:xsd="http://www.w3.org/2001/XMLSchema" xmlns:xs="http://www.w3.org/2001/XMLSchema" xmlns:p="http://schemas.microsoft.com/office/2006/metadata/properties" xmlns:ns2="d29a8555-db37-4257-91ea-e6d336cdedf2" xmlns:ns3="34dc536f-1af3-405a-935d-0fb3b6674883" targetNamespace="http://schemas.microsoft.com/office/2006/metadata/properties" ma:root="true" ma:fieldsID="dc67b3305e56f01fc9e637268d932d2d" ns2:_="" ns3:_="">
    <xsd:import namespace="d29a8555-db37-4257-91ea-e6d336cdedf2"/>
    <xsd:import namespace="34dc536f-1af3-405a-935d-0fb3b6674883"/>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29a8555-db37-4257-91ea-e6d336cdedf2"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4dc536f-1af3-405a-935d-0fb3b6674883"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d29a8555-db37-4257-91ea-e6d336cdedf2">
      <UserInfo>
        <DisplayName>Michael Bailit</DisplayName>
        <AccountId>22</AccountId>
        <AccountType/>
      </UserInfo>
      <UserInfo>
        <DisplayName>Deepti Kanneganti</DisplayName>
        <AccountId>15</AccountId>
        <AccountType/>
      </UserInfo>
      <UserInfo>
        <DisplayName>Justine Zayhowski</DisplayName>
        <AccountId>2633</AccountId>
        <AccountType/>
      </UserInfo>
      <UserInfo>
        <DisplayName>Lisa.Ahlgren@state.ma.us</DisplayName>
        <AccountId>3175</AccountId>
        <AccountType/>
      </UserInfo>
      <UserInfo>
        <DisplayName>Jennifer Sayles</DisplayName>
        <AccountId>4142</AccountId>
        <AccountType/>
      </UserInfo>
      <UserInfo>
        <DisplayName>Mary Beth Dyer</DisplayName>
        <AccountId>20</AccountId>
        <AccountType/>
      </UserInfo>
      <UserInfo>
        <DisplayName>Beth Waldman</DisplayName>
        <AccountId>37</AccountId>
        <AccountType/>
      </UserInfo>
    </SharedWithUsers>
  </documentManagement>
</p:properties>
</file>

<file path=customXml/itemProps1.xml><?xml version="1.0" encoding="utf-8"?>
<ds:datastoreItem xmlns:ds="http://schemas.openxmlformats.org/officeDocument/2006/customXml" ds:itemID="{7462C3C6-3E64-4F66-8292-8DAEACA6EE62}">
  <ds:schemaRefs>
    <ds:schemaRef ds:uri="http://schemas.microsoft.com/sharepoint/v3/contenttype/forms"/>
  </ds:schemaRefs>
</ds:datastoreItem>
</file>

<file path=customXml/itemProps2.xml><?xml version="1.0" encoding="utf-8"?>
<ds:datastoreItem xmlns:ds="http://schemas.openxmlformats.org/officeDocument/2006/customXml" ds:itemID="{C12E6B4B-7B64-44F9-9DAF-23A5E8422624}">
  <ds:schemaRefs>
    <ds:schemaRef ds:uri="34dc536f-1af3-405a-935d-0fb3b6674883"/>
    <ds:schemaRef ds:uri="d29a8555-db37-4257-91ea-e6d336cdedf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3D51BB9-DEB6-4460-8125-E187CA6439EC}">
  <ds:schemaRefs>
    <ds:schemaRef ds:uri="34dc536f-1af3-405a-935d-0fb3b6674883"/>
    <ds:schemaRef ds:uri="d29a8555-db37-4257-91ea-e6d336cdedf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Quality Measurement Taskforce Meeting 19</Template>
  <TotalTime>90</TotalTime>
  <Words>4441</Words>
  <Application>Microsoft Office PowerPoint</Application>
  <PresentationFormat>On-screen Show (4:3)</PresentationFormat>
  <Paragraphs>389</Paragraphs>
  <Slides>42</Slides>
  <Notes>3</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42</vt:i4>
      </vt:variant>
    </vt:vector>
  </HeadingPairs>
  <TitlesOfParts>
    <vt:vector size="51" baseType="lpstr">
      <vt:lpstr>Arial</vt:lpstr>
      <vt:lpstr>Book Antiqua</vt:lpstr>
      <vt:lpstr>Calibri</vt:lpstr>
      <vt:lpstr>Symbol</vt:lpstr>
      <vt:lpstr>Wingdings</vt:lpstr>
      <vt:lpstr>Wingdings 2</vt:lpstr>
      <vt:lpstr>EOHHS</vt:lpstr>
      <vt:lpstr>SRM_CF_DG1140</vt:lpstr>
      <vt:lpstr>think-cell Slide</vt:lpstr>
      <vt:lpstr>PowerPoint Presentation</vt:lpstr>
      <vt:lpstr>Agenda</vt:lpstr>
      <vt:lpstr>Agenda</vt:lpstr>
      <vt:lpstr>DDS and DMH inclusion in RELD data standardization efforts</vt:lpstr>
      <vt:lpstr>Implementation Parameters and Quality Measure Catalogue</vt:lpstr>
      <vt:lpstr>Request of the public and Taskforce organizations</vt:lpstr>
      <vt:lpstr>Operationalizing members’ lived experience</vt:lpstr>
      <vt:lpstr>Agenda</vt:lpstr>
      <vt:lpstr>Review Non-Measure Specific Public Comments</vt:lpstr>
      <vt:lpstr>Review Non-Measure Specific Public Comments</vt:lpstr>
      <vt:lpstr>General Feedback</vt:lpstr>
      <vt:lpstr>Measure Topics</vt:lpstr>
      <vt:lpstr>Measure Topics</vt:lpstr>
      <vt:lpstr>Measure Topics</vt:lpstr>
      <vt:lpstr>Agenda</vt:lpstr>
      <vt:lpstr>Annual Review Process</vt:lpstr>
      <vt:lpstr>Background  Measure Selection Criteria</vt:lpstr>
      <vt:lpstr>Background State Health Priorities</vt:lpstr>
      <vt:lpstr>Agenda</vt:lpstr>
      <vt:lpstr>Substance use disorder measures scan</vt:lpstr>
      <vt:lpstr>Substance use disorder measure scan</vt:lpstr>
      <vt:lpstr>Substance use disorder measure scan SBIRT and equity</vt:lpstr>
      <vt:lpstr>Substance use disorder measure scan Substance use and equity</vt:lpstr>
      <vt:lpstr>Substance use disorder measure scan Substance use and equity</vt:lpstr>
      <vt:lpstr>Substance use disorder measures scan Substance use and misuse</vt:lpstr>
      <vt:lpstr>Substance use disorder measures scan Alcohol use and misuse</vt:lpstr>
      <vt:lpstr>Substance use disorder measures scan Alcohol use and misuse</vt:lpstr>
      <vt:lpstr>Substance use disorder measures scan Alcohol use and misuse</vt:lpstr>
      <vt:lpstr>Substance use disorder measure scan Tobacco use and equity</vt:lpstr>
      <vt:lpstr>Substance use disorder measure scan Youth tobacco use</vt:lpstr>
      <vt:lpstr>Substance use disorder measure scan</vt:lpstr>
      <vt:lpstr>Agenda</vt:lpstr>
      <vt:lpstr>Revisit including a measure in the Core Set that requires reporting of RELD data </vt:lpstr>
      <vt:lpstr>Revisit including a measure in the Core Set that requires reporting of RELD data</vt:lpstr>
      <vt:lpstr>Revisit including a measure in the Core Set that requires reporting of RELD data</vt:lpstr>
      <vt:lpstr>Revisit including a measure in the Core Set that requires reporting of RELD data</vt:lpstr>
      <vt:lpstr>Revisit including a measure in the Core Set that requires reporting of RELD data</vt:lpstr>
      <vt:lpstr>Revisit including a measure in the Core Set that requires reporting of RELD data</vt:lpstr>
      <vt:lpstr>Revisit including a measure in the Core Set that requires reporting of RELD data</vt:lpstr>
      <vt:lpstr>Revisit including a measure in the Core Set that requires reporting of RELD data</vt:lpstr>
      <vt:lpstr>Agenda</vt:lpstr>
      <vt:lpstr>Meeting 41</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epti Kanneganti</dc:creator>
  <cp:lastModifiedBy>Justine Zayhowski</cp:lastModifiedBy>
  <cp:revision>1</cp:revision>
  <cp:lastPrinted>2020-01-22T12:56:50Z</cp:lastPrinted>
  <dcterms:created xsi:type="dcterms:W3CDTF">2018-07-16T19:03:48Z</dcterms:created>
  <dcterms:modified xsi:type="dcterms:W3CDTF">2020-11-20T16:48: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3F9B95F2EE52B4E9FB130DEE3F78C09</vt:lpwstr>
  </property>
</Properties>
</file>